
<file path=[Content_Types].xml><?xml version="1.0" encoding="utf-8"?>
<Types xmlns="http://schemas.openxmlformats.org/package/2006/content-types">
  <Default Extension="png" ContentType="image/png"/>
  <Default Extension="xlsm" ContentType="application/vnd.ms-excel.sheet.macroEnabled.12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0" r:id="rId2"/>
    <p:sldMasterId id="2147483709" r:id="rId3"/>
    <p:sldMasterId id="2147483711" r:id="rId4"/>
    <p:sldMasterId id="2147483701" r:id="rId5"/>
    <p:sldMasterId id="2147483730" r:id="rId6"/>
    <p:sldMasterId id="2147483784" r:id="rId7"/>
  </p:sldMasterIdLst>
  <p:notesMasterIdLst>
    <p:notesMasterId r:id="rId18"/>
  </p:notesMasterIdLst>
  <p:handoutMasterIdLst>
    <p:handoutMasterId r:id="rId19"/>
  </p:handoutMasterIdLst>
  <p:sldIdLst>
    <p:sldId id="256" r:id="rId8"/>
    <p:sldId id="259" r:id="rId9"/>
    <p:sldId id="260" r:id="rId10"/>
    <p:sldId id="261" r:id="rId11"/>
    <p:sldId id="263" r:id="rId12"/>
    <p:sldId id="264" r:id="rId13"/>
    <p:sldId id="265" r:id="rId14"/>
    <p:sldId id="268" r:id="rId15"/>
    <p:sldId id="270" r:id="rId16"/>
    <p:sldId id="271" r:id="rId1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7271"/>
    <a:srgbClr val="003765"/>
    <a:srgbClr val="000565"/>
    <a:srgbClr val="006699"/>
    <a:srgbClr val="E1E1E1"/>
    <a:srgbClr val="000000"/>
    <a:srgbClr val="007CBB"/>
    <a:srgbClr val="A6ABAB"/>
    <a:srgbClr val="E2E2E2"/>
    <a:srgbClr val="582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8" autoAdjust="0"/>
    <p:restoredTop sz="88869" autoAdjust="0"/>
  </p:normalViewPr>
  <p:slideViewPr>
    <p:cSldViewPr snapToGrid="0" snapToObjects="1">
      <p:cViewPr varScale="1">
        <p:scale>
          <a:sx n="111" d="100"/>
          <a:sy n="111" d="100"/>
        </p:scale>
        <p:origin x="98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2" d="100"/>
          <a:sy n="92" d="100"/>
        </p:scale>
        <p:origin x="1872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.xlsm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Macro-Enabled_Worksheet9.xlsm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376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C2A-DD42-A39E-9E7C30DF29AF}"/>
              </c:ext>
            </c:extLst>
          </c:dPt>
          <c:dPt>
            <c:idx val="1"/>
            <c:bubble3D val="0"/>
            <c:spPr>
              <a:solidFill>
                <a:srgbClr val="007CB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C2A-DD42-A39E-9E7C30DF29AF}"/>
              </c:ext>
            </c:extLst>
          </c:dPt>
          <c:dPt>
            <c:idx val="2"/>
            <c:bubble3D val="0"/>
            <c:spPr>
              <a:solidFill>
                <a:srgbClr val="F2A9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C2A-DD42-A39E-9E7C30DF29AF}"/>
              </c:ext>
            </c:extLst>
          </c:dPt>
          <c:dPt>
            <c:idx val="3"/>
            <c:bubble3D val="0"/>
            <c:spPr>
              <a:solidFill>
                <a:srgbClr val="28BAA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C2A-DD42-A39E-9E7C30DF29A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C2A-DD42-A39E-9E7C30DF29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1034482758621E-2"/>
          <c:y val="1.3698630136986301E-2"/>
          <c:w val="0.63793103448275901"/>
          <c:h val="0.979452054794521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14E45C"/>
            </a:solidFill>
            <a:ln w="11109">
              <a:solidFill>
                <a:schemeClr val="tx1"/>
              </a:solidFill>
              <a:prstDash val="solid"/>
            </a:ln>
          </c:spPr>
          <c:invertIfNegative val="0"/>
          <c:dPt>
            <c:idx val="9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8D8-466C-93F7-2C8D6D228C38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8D8-466C-93F7-2C8D6D228C38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8D8-466C-93F7-2C8D6D228C38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28D8-466C-93F7-2C8D6D228C38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28D8-466C-93F7-2C8D6D228C38}"/>
              </c:ext>
            </c:extLst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28D8-466C-93F7-2C8D6D228C38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28D8-466C-93F7-2C8D6D228C38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28D8-466C-93F7-2C8D6D228C38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28D8-466C-93F7-2C8D6D228C38}"/>
              </c:ext>
            </c:extLst>
          </c:dPt>
          <c:cat>
            <c:numRef>
              <c:f>Sheet1!$A$2:$A$20</c:f>
              <c:numCache>
                <c:formatCode>General</c:formatCode>
                <c:ptCount val="19"/>
              </c:numCache>
            </c:numRef>
          </c:cat>
          <c:val>
            <c:numRef>
              <c:f>Sheet1!$B$2:$B$20</c:f>
              <c:numCache>
                <c:formatCode>General</c:formatCode>
                <c:ptCount val="19"/>
                <c:pt idx="0">
                  <c:v>1.321286684759166</c:v>
                </c:pt>
                <c:pt idx="1">
                  <c:v>-2.1051463219570399E-2</c:v>
                </c:pt>
                <c:pt idx="2">
                  <c:v>0.64047355380839099</c:v>
                </c:pt>
                <c:pt idx="3">
                  <c:v>0.55647437412340195</c:v>
                </c:pt>
                <c:pt idx="4">
                  <c:v>0.50439490948807297</c:v>
                </c:pt>
                <c:pt idx="5">
                  <c:v>0.35831719987628602</c:v>
                </c:pt>
                <c:pt idx="6">
                  <c:v>0.210751012162326</c:v>
                </c:pt>
                <c:pt idx="7">
                  <c:v>0.112093823611849</c:v>
                </c:pt>
                <c:pt idx="8">
                  <c:v>7.3067193851236695E-2</c:v>
                </c:pt>
                <c:pt idx="9">
                  <c:v>-7.7419216707994495E-2</c:v>
                </c:pt>
                <c:pt idx="10">
                  <c:v>-0.12972183421248501</c:v>
                </c:pt>
                <c:pt idx="11">
                  <c:v>-0.22874308203617999</c:v>
                </c:pt>
                <c:pt idx="12">
                  <c:v>-0.47963263788515098</c:v>
                </c:pt>
                <c:pt idx="13">
                  <c:v>-0.73653460518603997</c:v>
                </c:pt>
                <c:pt idx="14">
                  <c:v>-0.76757878230146903</c:v>
                </c:pt>
                <c:pt idx="15">
                  <c:v>-1.1157715586011909</c:v>
                </c:pt>
                <c:pt idx="16">
                  <c:v>-1.3184538030794171</c:v>
                </c:pt>
                <c:pt idx="17">
                  <c:v>-1.509130295649691</c:v>
                </c:pt>
                <c:pt idx="18">
                  <c:v>0.50000000000005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8D8-466C-93F7-2C8D6D228C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664150384"/>
        <c:axId val="1664152160"/>
      </c:barChart>
      <c:catAx>
        <c:axId val="166415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5400">
            <a:solidFill>
              <a:schemeClr val="tx1"/>
            </a:solidFill>
            <a:prstDash val="solid"/>
          </a:ln>
        </c:spPr>
        <c:crossAx val="16641521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664152160"/>
        <c:scaling>
          <c:orientation val="minMax"/>
          <c:max val="1.321286684759015"/>
          <c:min val="-1.5091302956495189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5554">
            <a:noFill/>
          </a:ln>
        </c:spPr>
        <c:crossAx val="1664150384"/>
        <c:crosses val="autoZero"/>
        <c:crossBetween val="between"/>
      </c:valAx>
      <c:spPr>
        <a:noFill/>
        <a:ln w="222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344827586206899E-2"/>
          <c:y val="1.3698630136986301E-2"/>
          <c:w val="0.64655172413793105"/>
          <c:h val="0.9794520547945210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14E45C"/>
            </a:solidFill>
            <a:ln w="11109">
              <a:solidFill>
                <a:schemeClr val="tx1"/>
              </a:solidFill>
              <a:prstDash val="solid"/>
            </a:ln>
          </c:spPr>
          <c:invertIfNegative val="0"/>
          <c:dPt>
            <c:idx val="9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172-4471-9272-863FC1DD97B1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172-4471-9272-863FC1DD97B1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 w="11109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172-4471-9272-863FC1DD97B1}"/>
              </c:ext>
            </c:extLst>
          </c:dPt>
          <c:cat>
            <c:numRef>
              <c:f>Sheet1!$A$2:$A$20</c:f>
              <c:numCache>
                <c:formatCode>General</c:formatCode>
                <c:ptCount val="19"/>
              </c:numCache>
            </c:numRef>
          </c:cat>
          <c:val>
            <c:numRef>
              <c:f>Sheet1!$B$2:$B$20</c:f>
              <c:numCache>
                <c:formatCode>General</c:formatCode>
                <c:ptCount val="19"/>
                <c:pt idx="0">
                  <c:v>0.92376196950302802</c:v>
                </c:pt>
                <c:pt idx="1">
                  <c:v>0.56369524068824195</c:v>
                </c:pt>
                <c:pt idx="2">
                  <c:v>0.84860347300495698</c:v>
                </c:pt>
                <c:pt idx="3">
                  <c:v>0.95819016079192498</c:v>
                </c:pt>
                <c:pt idx="4">
                  <c:v>0.72570012598928602</c:v>
                </c:pt>
                <c:pt idx="5">
                  <c:v>1.6026240433295409</c:v>
                </c:pt>
                <c:pt idx="6">
                  <c:v>-9.9854588993642204E-2</c:v>
                </c:pt>
                <c:pt idx="7">
                  <c:v>0.413264889393686</c:v>
                </c:pt>
                <c:pt idx="8">
                  <c:v>0.15338812230691401</c:v>
                </c:pt>
                <c:pt idx="9">
                  <c:v>-0.16606602863175801</c:v>
                </c:pt>
                <c:pt idx="10">
                  <c:v>1.041043152161454</c:v>
                </c:pt>
                <c:pt idx="11">
                  <c:v>0.51435536283136796</c:v>
                </c:pt>
                <c:pt idx="12">
                  <c:v>-0.63679226714181103</c:v>
                </c:pt>
                <c:pt idx="13">
                  <c:v>-3.0985894130604121</c:v>
                </c:pt>
                <c:pt idx="14">
                  <c:v>0.16143113279809199</c:v>
                </c:pt>
                <c:pt idx="15">
                  <c:v>2.3401483234611199E-2</c:v>
                </c:pt>
                <c:pt idx="16">
                  <c:v>0.71007152768420001</c:v>
                </c:pt>
                <c:pt idx="17">
                  <c:v>0.115201062461114</c:v>
                </c:pt>
                <c:pt idx="18">
                  <c:v>0.60000000000006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72-4471-9272-863FC1DD97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664167568"/>
        <c:axId val="1664169984"/>
      </c:barChart>
      <c:catAx>
        <c:axId val="166416756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5400">
            <a:solidFill>
              <a:schemeClr val="tx1"/>
            </a:solidFill>
            <a:prstDash val="solid"/>
          </a:ln>
        </c:spPr>
        <c:crossAx val="16641699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664169984"/>
        <c:scaling>
          <c:orientation val="minMax"/>
          <c:max val="1.602624043329359"/>
          <c:min val="-3.09858941306006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5554">
            <a:noFill/>
          </a:ln>
        </c:spPr>
        <c:crossAx val="1664167568"/>
        <c:crosses val="autoZero"/>
        <c:crossBetween val="between"/>
      </c:valAx>
      <c:spPr>
        <a:noFill/>
        <a:ln w="222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003765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tx>
                <c:rich>
                  <a:bodyPr/>
                  <a:lstStyle/>
                  <a:p>
                    <a:fld id="{97B673CA-E8BD-5346-B43C-238C84B2BA91}" type="SERIESNAME">
                      <a:rPr lang="en-US" smtClean="0">
                        <a:solidFill>
                          <a:srgbClr val="000000"/>
                        </a:solidFill>
                      </a:rPr>
                      <a:pPr/>
                      <a:t>[SERIES NAME]</a:t>
                    </a:fld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F1D-B64F-8E38-9AEB5BACD6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F1D-B64F-8E38-9AEB5BACD65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rgbClr val="007CBB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tx>
                <c:rich>
                  <a:bodyPr/>
                  <a:lstStyle/>
                  <a:p>
                    <a:fld id="{1CBF866F-835D-C542-ABDD-F1A44A66CCD0}" type="SERIESNAME">
                      <a:rPr lang="en-US" smtClean="0">
                        <a:solidFill>
                          <a:srgbClr val="000000"/>
                        </a:solidFill>
                      </a:rPr>
                      <a:pPr/>
                      <a:t>[SERIES NAME]</a:t>
                    </a:fld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F1D-B64F-8E38-9AEB5BACD6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F1D-B64F-8E38-9AEB5BACD65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rgbClr val="F2A900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tx>
                <c:rich>
                  <a:bodyPr/>
                  <a:lstStyle/>
                  <a:p>
                    <a:fld id="{CFA2BF2F-C056-0444-AB64-01C308FADE0A}" type="SERIESNAME">
                      <a:rPr lang="en-US" smtClean="0"/>
                      <a:pPr/>
                      <a:t>[SERIES NAME]</a:t>
                    </a:fld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F1D-B64F-8E38-9AEB5BACD6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F1D-B64F-8E38-9AEB5BACD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463994688"/>
        <c:axId val="-410550592"/>
      </c:lineChart>
      <c:catAx>
        <c:axId val="-463994688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410550592"/>
        <c:crosses val="autoZero"/>
        <c:auto val="1"/>
        <c:lblAlgn val="ctr"/>
        <c:lblOffset val="100"/>
        <c:noMultiLvlLbl val="0"/>
      </c:catAx>
      <c:valAx>
        <c:axId val="-41055059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463994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376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6EFF736-F4D5-254B-95BC-E1D81D277195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A09A-DC4F-AA9C-1254788B3BC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792285D-FD4D-4249-91BC-F8271588C86C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A09A-DC4F-AA9C-1254788B3BC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D5A7D94-42E4-2A48-B245-07802E7936EE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A09A-DC4F-AA9C-1254788B3BC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B0478F8-B035-1F43-97AB-CB8E2E26DE4E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A09A-DC4F-AA9C-1254788B3B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09A-DC4F-AA9C-1254788B3BC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CB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09A-DC4F-AA9C-1254788B3BCD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09A-DC4F-AA9C-1254788B3BCD}"/>
              </c:ext>
            </c:extLst>
          </c:dPt>
          <c:dPt>
            <c:idx val="1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09A-DC4F-AA9C-1254788B3BCD}"/>
              </c:ext>
            </c:extLst>
          </c:dPt>
          <c:dPt>
            <c:idx val="2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09A-DC4F-AA9C-1254788B3BCD}"/>
              </c:ext>
            </c:extLst>
          </c:dPt>
          <c:dPt>
            <c:idx val="3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09A-DC4F-AA9C-1254788B3B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9A-DC4F-AA9C-1254788B3BC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-464699120"/>
        <c:axId val="-464696288"/>
      </c:barChart>
      <c:catAx>
        <c:axId val="-464699120"/>
        <c:scaling>
          <c:orientation val="minMax"/>
        </c:scaling>
        <c:delete val="0"/>
        <c:axPos val="l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64696288"/>
        <c:crosses val="autoZero"/>
        <c:auto val="1"/>
        <c:lblAlgn val="ctr"/>
        <c:lblOffset val="100"/>
        <c:noMultiLvlLbl val="0"/>
      </c:catAx>
      <c:valAx>
        <c:axId val="-4646962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64699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heet1!$D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376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6EFF736-F4D5-254B-95BC-E1D81D277195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33AE-AF4E-902A-B121BE22E3B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792285D-FD4D-4249-91BC-F8271588C86C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33AE-AF4E-902A-B121BE22E3B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D5A7D94-42E4-2A48-B245-07802E7936EE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33AE-AF4E-902A-B121BE22E3B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B0478F8-B035-1F43-97AB-CB8E2E26DE4E}" type="VALUE">
                      <a:rPr lang="en-US" smtClean="0"/>
                      <a:pPr/>
                      <a:t>[VALUE]</a:t>
                    </a:fld>
                    <a:r>
                      <a:rPr lang="en-US"/>
                      <a:t>.0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33AE-AF4E-902A-B121BE22E3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3AE-AF4E-902A-B121BE22E3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CB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3AE-AF4E-902A-B121BE22E3B7}"/>
            </c:ext>
          </c:extLst>
        </c:ser>
        <c:ser>
          <c:idx val="0"/>
          <c:order val="2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3AE-AF4E-902A-B121BE22E3B7}"/>
              </c:ext>
            </c:extLst>
          </c:dPt>
          <c:dPt>
            <c:idx val="1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3AE-AF4E-902A-B121BE22E3B7}"/>
              </c:ext>
            </c:extLst>
          </c:dPt>
          <c:dPt>
            <c:idx val="2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3AE-AF4E-902A-B121BE22E3B7}"/>
              </c:ext>
            </c:extLst>
          </c:dPt>
          <c:dPt>
            <c:idx val="3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3AE-AF4E-902A-B121BE22E3B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3AE-AF4E-902A-B121BE22E3B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-411003360"/>
        <c:axId val="-411037072"/>
      </c:barChart>
      <c:catAx>
        <c:axId val="-411003360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11037072"/>
        <c:crosses val="autoZero"/>
        <c:auto val="1"/>
        <c:lblAlgn val="ctr"/>
        <c:lblOffset val="100"/>
        <c:noMultiLvlLbl val="0"/>
      </c:catAx>
      <c:valAx>
        <c:axId val="-4110370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11003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37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93-834E-AD9A-C028DC2F85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CB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93-834E-AD9A-C028DC2F851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93-834E-AD9A-C028DC2F85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410720144"/>
        <c:axId val="-410717312"/>
      </c:barChart>
      <c:catAx>
        <c:axId val="-410720144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10717312"/>
        <c:crosses val="autoZero"/>
        <c:auto val="1"/>
        <c:lblAlgn val="ctr"/>
        <c:lblOffset val="100"/>
        <c:noMultiLvlLbl val="0"/>
      </c:catAx>
      <c:valAx>
        <c:axId val="-41071731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41072014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37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E7-1D46-8FE8-75B9BC8AB2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CB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EE7-1D46-8FE8-75B9BC8AB22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E7-1D46-8FE8-75B9BC8AB22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-410694368"/>
        <c:axId val="-410691536"/>
      </c:barChart>
      <c:catAx>
        <c:axId val="-410694368"/>
        <c:scaling>
          <c:orientation val="minMax"/>
        </c:scaling>
        <c:delete val="0"/>
        <c:axPos val="l"/>
        <c:numFmt formatCode="General" sourceLinked="1"/>
        <c:majorTickMark val="none"/>
        <c:minorTickMark val="out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10691536"/>
        <c:crosses val="autoZero"/>
        <c:auto val="1"/>
        <c:lblAlgn val="ctr"/>
        <c:lblOffset val="100"/>
        <c:noMultiLvlLbl val="0"/>
      </c:catAx>
      <c:valAx>
        <c:axId val="-410691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41069436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135738513443325E-2"/>
          <c:y val="3.7734707208931025E-2"/>
          <c:w val="0.80453870290997287"/>
          <c:h val="0.874772136020905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37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3"/>
                <c:pt idx="1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CA-B342-AE45-FCF3EC71B0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CB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C$3:$C$5</c:f>
              <c:numCache>
                <c:formatCode>General</c:formatCode>
                <c:ptCount val="3"/>
                <c:pt idx="1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CA-B342-AE45-FCF3EC71B09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2A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D$3:$D$5</c:f>
              <c:numCache>
                <c:formatCode>General</c:formatCode>
                <c:ptCount val="3"/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CA-B342-AE45-FCF3EC71B09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28BAA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E$3:$E$5</c:f>
              <c:numCache>
                <c:formatCode>General</c:formatCode>
                <c:ptCount val="3"/>
                <c:pt idx="1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CA-B342-AE45-FCF3EC71B09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582C8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F$3:$F$5</c:f>
              <c:numCache>
                <c:formatCode>General</c:formatCode>
                <c:ptCount val="3"/>
                <c:pt idx="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CA-B342-AE45-FCF3EC71B09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7172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2"/>
                <c:pt idx="1">
                  <c:v>Category 1</c:v>
                </c:pt>
              </c:strCache>
            </c:strRef>
          </c:cat>
          <c:val>
            <c:numRef>
              <c:f>Sheet1!$G$3:$G$5</c:f>
              <c:numCache>
                <c:formatCode>General</c:formatCode>
                <c:ptCount val="3"/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CA-B342-AE45-FCF3EC71B09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"/>
        <c:overlap val="100"/>
        <c:axId val="-464641104"/>
        <c:axId val="-464638272"/>
      </c:barChart>
      <c:catAx>
        <c:axId val="-464641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just">
              <a:defRPr sz="1197" b="0" i="0" u="none" strike="noStrike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64638272"/>
        <c:crosses val="autoZero"/>
        <c:auto val="1"/>
        <c:lblAlgn val="ctr"/>
        <c:lblOffset val="100"/>
        <c:noMultiLvlLbl val="0"/>
      </c:catAx>
      <c:valAx>
        <c:axId val="-4646382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7CBB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376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46464110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 1</c:v>
                </c:pt>
              </c:strCache>
            </c:strRef>
          </c:tx>
          <c:spPr>
            <a:solidFill>
              <a:srgbClr val="98D3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376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73-2244-94E8-6C5F17E18F2B}"/>
              </c:ext>
            </c:extLst>
          </c:dPt>
          <c:dPt>
            <c:idx val="1"/>
            <c:invertIfNegative val="0"/>
            <c:bubble3D val="0"/>
            <c:spPr>
              <a:solidFill>
                <a:srgbClr val="007C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73-2244-94E8-6C5F17E18F2B}"/>
              </c:ext>
            </c:extLst>
          </c:dPt>
          <c:dPt>
            <c:idx val="2"/>
            <c:invertIfNegative val="0"/>
            <c:bubble3D val="0"/>
            <c:spPr>
              <a:solidFill>
                <a:srgbClr val="F2A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73-2244-94E8-6C5F17E18F2B}"/>
              </c:ext>
            </c:extLst>
          </c:dPt>
          <c:dPt>
            <c:idx val="3"/>
            <c:invertIfNegative val="0"/>
            <c:bubble3D val="0"/>
            <c:spPr>
              <a:solidFill>
                <a:srgbClr val="28BAA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773-2244-94E8-6C5F17E18F2B}"/>
              </c:ext>
            </c:extLst>
          </c:dPt>
          <c:dPt>
            <c:idx val="4"/>
            <c:invertIfNegative val="0"/>
            <c:bubble3D val="0"/>
            <c:spPr>
              <a:solidFill>
                <a:srgbClr val="7172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773-2244-94E8-6C5F17E18F2B}"/>
              </c:ext>
            </c:extLst>
          </c:dPt>
          <c:dPt>
            <c:idx val="5"/>
            <c:invertIfNegative val="0"/>
            <c:bubble3D val="0"/>
            <c:spPr>
              <a:solidFill>
                <a:srgbClr val="582C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773-2244-94E8-6C5F17E18F2B}"/>
              </c:ext>
            </c:extLst>
          </c:dPt>
          <c:xVal>
            <c:numRef>
              <c:f>Sheet1!$A$2:$A$7</c:f>
              <c:numCache>
                <c:formatCode>General</c:formatCode>
                <c:ptCount val="6"/>
                <c:pt idx="0">
                  <c:v>0.3</c:v>
                </c:pt>
                <c:pt idx="1">
                  <c:v>0.6</c:v>
                </c:pt>
                <c:pt idx="2">
                  <c:v>0.9</c:v>
                </c:pt>
                <c:pt idx="3">
                  <c:v>1.2</c:v>
                </c:pt>
                <c:pt idx="4">
                  <c:v>1.5</c:v>
                </c:pt>
                <c:pt idx="5">
                  <c:v>1.7</c:v>
                </c:pt>
              </c:numCache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1.3</c:v>
                </c:pt>
                <c:pt idx="1">
                  <c:v>6</c:v>
                </c:pt>
                <c:pt idx="2">
                  <c:v>3.5</c:v>
                </c:pt>
                <c:pt idx="3">
                  <c:v>2.5</c:v>
                </c:pt>
                <c:pt idx="4">
                  <c:v>7.5</c:v>
                </c:pt>
                <c:pt idx="5">
                  <c:v>5</c:v>
                </c:pt>
              </c:numCache>
            </c:numRef>
          </c:yVal>
          <c:bubbleSize>
            <c:numRef>
              <c:f>Sheet1!$C$2:$C$7</c:f>
              <c:numCache>
                <c:formatCode>General</c:formatCode>
                <c:ptCount val="6"/>
                <c:pt idx="0">
                  <c:v>1</c:v>
                </c:pt>
                <c:pt idx="1">
                  <c:v>4</c:v>
                </c:pt>
                <c:pt idx="2">
                  <c:v>2</c:v>
                </c:pt>
                <c:pt idx="3">
                  <c:v>3</c:v>
                </c:pt>
                <c:pt idx="4">
                  <c:v>7</c:v>
                </c:pt>
                <c:pt idx="5">
                  <c:v>4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C-3773-2244-94E8-6C5F17E18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-464193072"/>
        <c:axId val="-149829344"/>
      </c:bubbleChart>
      <c:valAx>
        <c:axId val="-4641930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49829344"/>
        <c:crosses val="autoZero"/>
        <c:crossBetween val="midCat"/>
      </c:valAx>
      <c:valAx>
        <c:axId val="-14982934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rgbClr val="007CBB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4641930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376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CB9-47E3-B910-7DF02F825D52}"/>
              </c:ext>
            </c:extLst>
          </c:dPt>
          <c:dPt>
            <c:idx val="1"/>
            <c:bubble3D val="0"/>
            <c:spPr>
              <a:solidFill>
                <a:srgbClr val="007CB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CB9-47E3-B910-7DF02F825D52}"/>
              </c:ext>
            </c:extLst>
          </c:dPt>
          <c:dPt>
            <c:idx val="2"/>
            <c:bubble3D val="0"/>
            <c:spPr>
              <a:solidFill>
                <a:srgbClr val="29BAA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CB9-47E3-B910-7DF02F825D52}"/>
              </c:ext>
            </c:extLst>
          </c:dPt>
          <c:dPt>
            <c:idx val="3"/>
            <c:bubble3D val="0"/>
            <c:spPr>
              <a:solidFill>
                <a:srgbClr val="F5A8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CB9-47E3-B910-7DF02F825D52}"/>
              </c:ext>
            </c:extLst>
          </c:dPt>
          <c:dPt>
            <c:idx val="4"/>
            <c:bubble3D val="0"/>
            <c:spPr>
              <a:solidFill>
                <a:srgbClr val="71727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42C-E74A-83E1-4598A0E61492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000000"/>
                      </a:solidFill>
                      <a:latin typeface="Arial" charset="0"/>
                      <a:ea typeface="Arial" charset="0"/>
                      <a:cs typeface="Arial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42C-E74A-83E1-4598A0E614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rgbClr val="717271"/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1000000000000001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CB9-47E3-B910-7DF02F825D52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0A41A4-9AC1-1C44-8FF7-AFCF9EB53B77}" type="datetimeFigureOut">
              <a:rPr lang="en-US" smtClean="0"/>
              <a:t>8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684FD0F-1CC7-1949-A0DF-38E56638EB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4894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D799B1A5-C4E7-8246-81F7-43B2712695CC}" type="datetimeFigureOut">
              <a:rPr lang="en-US" smtClean="0"/>
              <a:t>8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52266DA-4FF9-AA4C-ACFB-FC1A0C49E4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0264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4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0.png"/><Relationship Id="rId21" Type="http://schemas.openxmlformats.org/officeDocument/2006/relationships/image" Target="../media/image35.png"/><Relationship Id="rId34" Type="http://schemas.openxmlformats.org/officeDocument/2006/relationships/image" Target="../media/image48.png"/><Relationship Id="rId42" Type="http://schemas.openxmlformats.org/officeDocument/2006/relationships/image" Target="../media/image56.png"/><Relationship Id="rId47" Type="http://schemas.openxmlformats.org/officeDocument/2006/relationships/image" Target="../media/image61.png"/><Relationship Id="rId50" Type="http://schemas.openxmlformats.org/officeDocument/2006/relationships/image" Target="../media/image64.png"/><Relationship Id="rId55" Type="http://schemas.openxmlformats.org/officeDocument/2006/relationships/image" Target="../media/image69.png"/><Relationship Id="rId63" Type="http://schemas.openxmlformats.org/officeDocument/2006/relationships/image" Target="../media/image7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9" Type="http://schemas.openxmlformats.org/officeDocument/2006/relationships/image" Target="../media/image43.pn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40" Type="http://schemas.openxmlformats.org/officeDocument/2006/relationships/image" Target="../media/image54.pn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8" Type="http://schemas.openxmlformats.org/officeDocument/2006/relationships/image" Target="../media/image72.png"/><Relationship Id="rId66" Type="http://schemas.openxmlformats.org/officeDocument/2006/relationships/image" Target="../media/image80.png"/><Relationship Id="rId5" Type="http://schemas.openxmlformats.org/officeDocument/2006/relationships/image" Target="../media/image19.png"/><Relationship Id="rId61" Type="http://schemas.openxmlformats.org/officeDocument/2006/relationships/image" Target="../media/image75.png"/><Relationship Id="rId19" Type="http://schemas.openxmlformats.org/officeDocument/2006/relationships/image" Target="../media/image3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48" Type="http://schemas.openxmlformats.org/officeDocument/2006/relationships/image" Target="../media/image62.png"/><Relationship Id="rId56" Type="http://schemas.openxmlformats.org/officeDocument/2006/relationships/image" Target="../media/image70.png"/><Relationship Id="rId64" Type="http://schemas.openxmlformats.org/officeDocument/2006/relationships/image" Target="../media/image78.png"/><Relationship Id="rId8" Type="http://schemas.openxmlformats.org/officeDocument/2006/relationships/image" Target="../media/image22.png"/><Relationship Id="rId51" Type="http://schemas.openxmlformats.org/officeDocument/2006/relationships/image" Target="../media/image65.png"/><Relationship Id="rId3" Type="http://schemas.openxmlformats.org/officeDocument/2006/relationships/image" Target="../media/image17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38" Type="http://schemas.openxmlformats.org/officeDocument/2006/relationships/image" Target="../media/image52.png"/><Relationship Id="rId46" Type="http://schemas.openxmlformats.org/officeDocument/2006/relationships/image" Target="../media/image60.png"/><Relationship Id="rId59" Type="http://schemas.openxmlformats.org/officeDocument/2006/relationships/image" Target="../media/image73.png"/><Relationship Id="rId67" Type="http://schemas.openxmlformats.org/officeDocument/2006/relationships/image" Target="../media/image81.png"/><Relationship Id="rId20" Type="http://schemas.openxmlformats.org/officeDocument/2006/relationships/image" Target="../media/image34.png"/><Relationship Id="rId41" Type="http://schemas.openxmlformats.org/officeDocument/2006/relationships/image" Target="../media/image55.png"/><Relationship Id="rId54" Type="http://schemas.openxmlformats.org/officeDocument/2006/relationships/image" Target="../media/image68.png"/><Relationship Id="rId62" Type="http://schemas.openxmlformats.org/officeDocument/2006/relationships/image" Target="../media/image7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0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36" Type="http://schemas.openxmlformats.org/officeDocument/2006/relationships/image" Target="../media/image50.pn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10" Type="http://schemas.openxmlformats.org/officeDocument/2006/relationships/image" Target="../media/image24.png"/><Relationship Id="rId31" Type="http://schemas.openxmlformats.org/officeDocument/2006/relationships/image" Target="../media/image45.png"/><Relationship Id="rId44" Type="http://schemas.openxmlformats.org/officeDocument/2006/relationships/image" Target="../media/image58.png"/><Relationship Id="rId52" Type="http://schemas.openxmlformats.org/officeDocument/2006/relationships/image" Target="../media/image66.png"/><Relationship Id="rId60" Type="http://schemas.openxmlformats.org/officeDocument/2006/relationships/image" Target="../media/image74.png"/><Relationship Id="rId65" Type="http://schemas.openxmlformats.org/officeDocument/2006/relationships/image" Target="../media/image7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9" Type="http://schemas.openxmlformats.org/officeDocument/2006/relationships/image" Target="../media/image5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0.png"/><Relationship Id="rId21" Type="http://schemas.openxmlformats.org/officeDocument/2006/relationships/image" Target="../media/image35.png"/><Relationship Id="rId34" Type="http://schemas.openxmlformats.org/officeDocument/2006/relationships/image" Target="../media/image48.png"/><Relationship Id="rId42" Type="http://schemas.openxmlformats.org/officeDocument/2006/relationships/image" Target="../media/image56.png"/><Relationship Id="rId47" Type="http://schemas.openxmlformats.org/officeDocument/2006/relationships/image" Target="../media/image61.png"/><Relationship Id="rId50" Type="http://schemas.openxmlformats.org/officeDocument/2006/relationships/image" Target="../media/image64.png"/><Relationship Id="rId55" Type="http://schemas.openxmlformats.org/officeDocument/2006/relationships/image" Target="../media/image69.png"/><Relationship Id="rId63" Type="http://schemas.openxmlformats.org/officeDocument/2006/relationships/image" Target="../media/image7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9" Type="http://schemas.openxmlformats.org/officeDocument/2006/relationships/image" Target="../media/image43.pn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40" Type="http://schemas.openxmlformats.org/officeDocument/2006/relationships/image" Target="../media/image54.pn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8" Type="http://schemas.openxmlformats.org/officeDocument/2006/relationships/image" Target="../media/image72.png"/><Relationship Id="rId66" Type="http://schemas.openxmlformats.org/officeDocument/2006/relationships/image" Target="../media/image80.png"/><Relationship Id="rId5" Type="http://schemas.openxmlformats.org/officeDocument/2006/relationships/image" Target="../media/image19.png"/><Relationship Id="rId61" Type="http://schemas.openxmlformats.org/officeDocument/2006/relationships/image" Target="../media/image75.png"/><Relationship Id="rId19" Type="http://schemas.openxmlformats.org/officeDocument/2006/relationships/image" Target="../media/image3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48" Type="http://schemas.openxmlformats.org/officeDocument/2006/relationships/image" Target="../media/image62.png"/><Relationship Id="rId56" Type="http://schemas.openxmlformats.org/officeDocument/2006/relationships/image" Target="../media/image70.png"/><Relationship Id="rId64" Type="http://schemas.openxmlformats.org/officeDocument/2006/relationships/image" Target="../media/image78.png"/><Relationship Id="rId8" Type="http://schemas.openxmlformats.org/officeDocument/2006/relationships/image" Target="../media/image22.png"/><Relationship Id="rId51" Type="http://schemas.openxmlformats.org/officeDocument/2006/relationships/image" Target="../media/image65.png"/><Relationship Id="rId3" Type="http://schemas.openxmlformats.org/officeDocument/2006/relationships/image" Target="../media/image17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5" Type="http://schemas.openxmlformats.org/officeDocument/2006/relationships/image" Target="../media/image39.png"/><Relationship Id="rId33" Type="http://schemas.openxmlformats.org/officeDocument/2006/relationships/image" Target="../media/image47.png"/><Relationship Id="rId38" Type="http://schemas.openxmlformats.org/officeDocument/2006/relationships/image" Target="../media/image52.png"/><Relationship Id="rId46" Type="http://schemas.openxmlformats.org/officeDocument/2006/relationships/image" Target="../media/image60.png"/><Relationship Id="rId59" Type="http://schemas.openxmlformats.org/officeDocument/2006/relationships/image" Target="../media/image73.png"/><Relationship Id="rId67" Type="http://schemas.openxmlformats.org/officeDocument/2006/relationships/image" Target="../media/image81.png"/><Relationship Id="rId20" Type="http://schemas.openxmlformats.org/officeDocument/2006/relationships/image" Target="../media/image34.png"/><Relationship Id="rId41" Type="http://schemas.openxmlformats.org/officeDocument/2006/relationships/image" Target="../media/image55.png"/><Relationship Id="rId54" Type="http://schemas.openxmlformats.org/officeDocument/2006/relationships/image" Target="../media/image68.png"/><Relationship Id="rId62" Type="http://schemas.openxmlformats.org/officeDocument/2006/relationships/image" Target="../media/image7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0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36" Type="http://schemas.openxmlformats.org/officeDocument/2006/relationships/image" Target="../media/image50.pn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10" Type="http://schemas.openxmlformats.org/officeDocument/2006/relationships/image" Target="../media/image24.png"/><Relationship Id="rId31" Type="http://schemas.openxmlformats.org/officeDocument/2006/relationships/image" Target="../media/image45.png"/><Relationship Id="rId44" Type="http://schemas.openxmlformats.org/officeDocument/2006/relationships/image" Target="../media/image58.png"/><Relationship Id="rId52" Type="http://schemas.openxmlformats.org/officeDocument/2006/relationships/image" Target="../media/image66.png"/><Relationship Id="rId60" Type="http://schemas.openxmlformats.org/officeDocument/2006/relationships/image" Target="../media/image74.png"/><Relationship Id="rId65" Type="http://schemas.openxmlformats.org/officeDocument/2006/relationships/image" Target="../media/image7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9" Type="http://schemas.openxmlformats.org/officeDocument/2006/relationships/image" Target="../media/image53.png"/></Relationships>
</file>

<file path=ppt/slideLayouts/_rels/slideLayout5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3.png"/><Relationship Id="rId18" Type="http://schemas.openxmlformats.org/officeDocument/2006/relationships/image" Target="../media/image98.png"/><Relationship Id="rId26" Type="http://schemas.openxmlformats.org/officeDocument/2006/relationships/image" Target="../media/image106.png"/><Relationship Id="rId39" Type="http://schemas.openxmlformats.org/officeDocument/2006/relationships/image" Target="../media/image119.png"/><Relationship Id="rId21" Type="http://schemas.openxmlformats.org/officeDocument/2006/relationships/image" Target="../media/image101.png"/><Relationship Id="rId34" Type="http://schemas.openxmlformats.org/officeDocument/2006/relationships/image" Target="../media/image114.png"/><Relationship Id="rId42" Type="http://schemas.openxmlformats.org/officeDocument/2006/relationships/image" Target="../media/image122.png"/><Relationship Id="rId47" Type="http://schemas.openxmlformats.org/officeDocument/2006/relationships/image" Target="../media/image127.png"/><Relationship Id="rId50" Type="http://schemas.openxmlformats.org/officeDocument/2006/relationships/image" Target="../media/image130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6" Type="http://schemas.openxmlformats.org/officeDocument/2006/relationships/image" Target="../media/image96.png"/><Relationship Id="rId29" Type="http://schemas.openxmlformats.org/officeDocument/2006/relationships/image" Target="../media/image109.png"/><Relationship Id="rId11" Type="http://schemas.openxmlformats.org/officeDocument/2006/relationships/image" Target="../media/image91.png"/><Relationship Id="rId24" Type="http://schemas.openxmlformats.org/officeDocument/2006/relationships/image" Target="../media/image104.png"/><Relationship Id="rId32" Type="http://schemas.openxmlformats.org/officeDocument/2006/relationships/image" Target="../media/image112.png"/><Relationship Id="rId37" Type="http://schemas.openxmlformats.org/officeDocument/2006/relationships/image" Target="../media/image117.png"/><Relationship Id="rId40" Type="http://schemas.openxmlformats.org/officeDocument/2006/relationships/image" Target="../media/image120.png"/><Relationship Id="rId45" Type="http://schemas.openxmlformats.org/officeDocument/2006/relationships/image" Target="../media/image125.png"/><Relationship Id="rId5" Type="http://schemas.openxmlformats.org/officeDocument/2006/relationships/image" Target="../media/image85.png"/><Relationship Id="rId15" Type="http://schemas.openxmlformats.org/officeDocument/2006/relationships/image" Target="../media/image95.png"/><Relationship Id="rId23" Type="http://schemas.openxmlformats.org/officeDocument/2006/relationships/image" Target="../media/image103.png"/><Relationship Id="rId28" Type="http://schemas.openxmlformats.org/officeDocument/2006/relationships/image" Target="../media/image108.png"/><Relationship Id="rId36" Type="http://schemas.openxmlformats.org/officeDocument/2006/relationships/image" Target="../media/image116.png"/><Relationship Id="rId49" Type="http://schemas.openxmlformats.org/officeDocument/2006/relationships/image" Target="../media/image129.png"/><Relationship Id="rId10" Type="http://schemas.openxmlformats.org/officeDocument/2006/relationships/image" Target="../media/image90.png"/><Relationship Id="rId19" Type="http://schemas.openxmlformats.org/officeDocument/2006/relationships/image" Target="../media/image99.png"/><Relationship Id="rId31" Type="http://schemas.openxmlformats.org/officeDocument/2006/relationships/image" Target="../media/image111.png"/><Relationship Id="rId44" Type="http://schemas.openxmlformats.org/officeDocument/2006/relationships/image" Target="../media/image124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Relationship Id="rId14" Type="http://schemas.openxmlformats.org/officeDocument/2006/relationships/image" Target="../media/image94.png"/><Relationship Id="rId22" Type="http://schemas.openxmlformats.org/officeDocument/2006/relationships/image" Target="../media/image102.png"/><Relationship Id="rId27" Type="http://schemas.openxmlformats.org/officeDocument/2006/relationships/image" Target="../media/image107.png"/><Relationship Id="rId30" Type="http://schemas.openxmlformats.org/officeDocument/2006/relationships/image" Target="../media/image110.png"/><Relationship Id="rId35" Type="http://schemas.openxmlformats.org/officeDocument/2006/relationships/image" Target="../media/image115.png"/><Relationship Id="rId43" Type="http://schemas.openxmlformats.org/officeDocument/2006/relationships/image" Target="../media/image123.png"/><Relationship Id="rId48" Type="http://schemas.openxmlformats.org/officeDocument/2006/relationships/image" Target="../media/image128.png"/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12" Type="http://schemas.openxmlformats.org/officeDocument/2006/relationships/image" Target="../media/image92.png"/><Relationship Id="rId17" Type="http://schemas.openxmlformats.org/officeDocument/2006/relationships/image" Target="../media/image97.png"/><Relationship Id="rId25" Type="http://schemas.openxmlformats.org/officeDocument/2006/relationships/image" Target="../media/image105.png"/><Relationship Id="rId33" Type="http://schemas.openxmlformats.org/officeDocument/2006/relationships/image" Target="../media/image113.png"/><Relationship Id="rId38" Type="http://schemas.openxmlformats.org/officeDocument/2006/relationships/image" Target="../media/image118.png"/><Relationship Id="rId46" Type="http://schemas.openxmlformats.org/officeDocument/2006/relationships/image" Target="../media/image126.png"/><Relationship Id="rId20" Type="http://schemas.openxmlformats.org/officeDocument/2006/relationships/image" Target="../media/image100.png"/><Relationship Id="rId41" Type="http://schemas.openxmlformats.org/officeDocument/2006/relationships/image" Target="../media/image12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86.png"/></Relationships>
</file>

<file path=ppt/slideLayouts/_rels/slideLayout5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2.png"/><Relationship Id="rId18" Type="http://schemas.openxmlformats.org/officeDocument/2006/relationships/image" Target="../media/image147.png"/><Relationship Id="rId26" Type="http://schemas.openxmlformats.org/officeDocument/2006/relationships/image" Target="../media/image155.png"/><Relationship Id="rId39" Type="http://schemas.openxmlformats.org/officeDocument/2006/relationships/image" Target="../media/image168.png"/><Relationship Id="rId21" Type="http://schemas.openxmlformats.org/officeDocument/2006/relationships/image" Target="../media/image150.png"/><Relationship Id="rId34" Type="http://schemas.openxmlformats.org/officeDocument/2006/relationships/image" Target="../media/image163.png"/><Relationship Id="rId7" Type="http://schemas.openxmlformats.org/officeDocument/2006/relationships/image" Target="../media/image136.png"/><Relationship Id="rId2" Type="http://schemas.openxmlformats.org/officeDocument/2006/relationships/image" Target="../media/image131.png"/><Relationship Id="rId16" Type="http://schemas.openxmlformats.org/officeDocument/2006/relationships/image" Target="../media/image145.png"/><Relationship Id="rId20" Type="http://schemas.openxmlformats.org/officeDocument/2006/relationships/image" Target="../media/image149.png"/><Relationship Id="rId29" Type="http://schemas.openxmlformats.org/officeDocument/2006/relationships/image" Target="../media/image158.png"/><Relationship Id="rId41" Type="http://schemas.openxmlformats.org/officeDocument/2006/relationships/image" Target="../media/image17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35.png"/><Relationship Id="rId11" Type="http://schemas.openxmlformats.org/officeDocument/2006/relationships/image" Target="../media/image140.png"/><Relationship Id="rId24" Type="http://schemas.openxmlformats.org/officeDocument/2006/relationships/image" Target="../media/image153.png"/><Relationship Id="rId32" Type="http://schemas.openxmlformats.org/officeDocument/2006/relationships/image" Target="../media/image161.png"/><Relationship Id="rId37" Type="http://schemas.openxmlformats.org/officeDocument/2006/relationships/image" Target="../media/image166.png"/><Relationship Id="rId40" Type="http://schemas.openxmlformats.org/officeDocument/2006/relationships/image" Target="../media/image169.png"/><Relationship Id="rId5" Type="http://schemas.openxmlformats.org/officeDocument/2006/relationships/image" Target="../media/image134.png"/><Relationship Id="rId15" Type="http://schemas.openxmlformats.org/officeDocument/2006/relationships/image" Target="../media/image144.png"/><Relationship Id="rId23" Type="http://schemas.openxmlformats.org/officeDocument/2006/relationships/image" Target="../media/image152.png"/><Relationship Id="rId28" Type="http://schemas.openxmlformats.org/officeDocument/2006/relationships/image" Target="../media/image157.png"/><Relationship Id="rId36" Type="http://schemas.openxmlformats.org/officeDocument/2006/relationships/image" Target="../media/image165.png"/><Relationship Id="rId10" Type="http://schemas.openxmlformats.org/officeDocument/2006/relationships/image" Target="../media/image139.png"/><Relationship Id="rId19" Type="http://schemas.openxmlformats.org/officeDocument/2006/relationships/image" Target="../media/image148.png"/><Relationship Id="rId31" Type="http://schemas.openxmlformats.org/officeDocument/2006/relationships/image" Target="../media/image160.png"/><Relationship Id="rId4" Type="http://schemas.openxmlformats.org/officeDocument/2006/relationships/image" Target="../media/image133.png"/><Relationship Id="rId9" Type="http://schemas.openxmlformats.org/officeDocument/2006/relationships/image" Target="../media/image138.png"/><Relationship Id="rId14" Type="http://schemas.openxmlformats.org/officeDocument/2006/relationships/image" Target="../media/image143.png"/><Relationship Id="rId22" Type="http://schemas.openxmlformats.org/officeDocument/2006/relationships/image" Target="../media/image151.png"/><Relationship Id="rId27" Type="http://schemas.openxmlformats.org/officeDocument/2006/relationships/image" Target="../media/image156.png"/><Relationship Id="rId30" Type="http://schemas.openxmlformats.org/officeDocument/2006/relationships/image" Target="../media/image159.png"/><Relationship Id="rId35" Type="http://schemas.openxmlformats.org/officeDocument/2006/relationships/image" Target="../media/image164.png"/><Relationship Id="rId8" Type="http://schemas.openxmlformats.org/officeDocument/2006/relationships/image" Target="../media/image137.png"/><Relationship Id="rId3" Type="http://schemas.openxmlformats.org/officeDocument/2006/relationships/image" Target="../media/image132.png"/><Relationship Id="rId12" Type="http://schemas.openxmlformats.org/officeDocument/2006/relationships/image" Target="../media/image141.png"/><Relationship Id="rId17" Type="http://schemas.openxmlformats.org/officeDocument/2006/relationships/image" Target="../media/image146.png"/><Relationship Id="rId25" Type="http://schemas.openxmlformats.org/officeDocument/2006/relationships/image" Target="../media/image154.png"/><Relationship Id="rId33" Type="http://schemas.openxmlformats.org/officeDocument/2006/relationships/image" Target="../media/image162.png"/><Relationship Id="rId38" Type="http://schemas.openxmlformats.org/officeDocument/2006/relationships/image" Target="../media/image167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13" Type="http://schemas.openxmlformats.org/officeDocument/2006/relationships/image" Target="../media/image182.png"/><Relationship Id="rId18" Type="http://schemas.openxmlformats.org/officeDocument/2006/relationships/image" Target="../media/image187.png"/><Relationship Id="rId3" Type="http://schemas.openxmlformats.org/officeDocument/2006/relationships/image" Target="../media/image172.png"/><Relationship Id="rId21" Type="http://schemas.openxmlformats.org/officeDocument/2006/relationships/image" Target="../media/image190.png"/><Relationship Id="rId7" Type="http://schemas.openxmlformats.org/officeDocument/2006/relationships/image" Target="../media/image176.png"/><Relationship Id="rId12" Type="http://schemas.openxmlformats.org/officeDocument/2006/relationships/image" Target="../media/image181.png"/><Relationship Id="rId17" Type="http://schemas.openxmlformats.org/officeDocument/2006/relationships/image" Target="../media/image186.png"/><Relationship Id="rId2" Type="http://schemas.openxmlformats.org/officeDocument/2006/relationships/image" Target="../media/image171.png"/><Relationship Id="rId16" Type="http://schemas.openxmlformats.org/officeDocument/2006/relationships/image" Target="../media/image185.png"/><Relationship Id="rId20" Type="http://schemas.openxmlformats.org/officeDocument/2006/relationships/image" Target="../media/image18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5.png"/><Relationship Id="rId11" Type="http://schemas.openxmlformats.org/officeDocument/2006/relationships/image" Target="../media/image180.png"/><Relationship Id="rId5" Type="http://schemas.openxmlformats.org/officeDocument/2006/relationships/image" Target="../media/image174.png"/><Relationship Id="rId15" Type="http://schemas.openxmlformats.org/officeDocument/2006/relationships/image" Target="../media/image184.png"/><Relationship Id="rId10" Type="http://schemas.openxmlformats.org/officeDocument/2006/relationships/image" Target="../media/image179.png"/><Relationship Id="rId19" Type="http://schemas.openxmlformats.org/officeDocument/2006/relationships/image" Target="../media/image188.png"/><Relationship Id="rId4" Type="http://schemas.openxmlformats.org/officeDocument/2006/relationships/image" Target="../media/image173.png"/><Relationship Id="rId9" Type="http://schemas.openxmlformats.org/officeDocument/2006/relationships/image" Target="../media/image178.png"/><Relationship Id="rId14" Type="http://schemas.openxmlformats.org/officeDocument/2006/relationships/image" Target="../media/image183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7.png"/><Relationship Id="rId13" Type="http://schemas.openxmlformats.org/officeDocument/2006/relationships/image" Target="../media/image202.png"/><Relationship Id="rId18" Type="http://schemas.openxmlformats.org/officeDocument/2006/relationships/image" Target="../media/image207.png"/><Relationship Id="rId3" Type="http://schemas.openxmlformats.org/officeDocument/2006/relationships/image" Target="../media/image192.png"/><Relationship Id="rId21" Type="http://schemas.openxmlformats.org/officeDocument/2006/relationships/image" Target="../media/image210.png"/><Relationship Id="rId7" Type="http://schemas.openxmlformats.org/officeDocument/2006/relationships/image" Target="../media/image196.png"/><Relationship Id="rId12" Type="http://schemas.openxmlformats.org/officeDocument/2006/relationships/image" Target="../media/image201.png"/><Relationship Id="rId17" Type="http://schemas.openxmlformats.org/officeDocument/2006/relationships/image" Target="../media/image206.png"/><Relationship Id="rId2" Type="http://schemas.openxmlformats.org/officeDocument/2006/relationships/image" Target="../media/image191.png"/><Relationship Id="rId16" Type="http://schemas.openxmlformats.org/officeDocument/2006/relationships/image" Target="../media/image205.png"/><Relationship Id="rId20" Type="http://schemas.openxmlformats.org/officeDocument/2006/relationships/image" Target="../media/image209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95.png"/><Relationship Id="rId11" Type="http://schemas.openxmlformats.org/officeDocument/2006/relationships/image" Target="../media/image200.png"/><Relationship Id="rId5" Type="http://schemas.openxmlformats.org/officeDocument/2006/relationships/image" Target="../media/image194.png"/><Relationship Id="rId15" Type="http://schemas.openxmlformats.org/officeDocument/2006/relationships/image" Target="../media/image204.png"/><Relationship Id="rId10" Type="http://schemas.openxmlformats.org/officeDocument/2006/relationships/image" Target="../media/image199.png"/><Relationship Id="rId19" Type="http://schemas.openxmlformats.org/officeDocument/2006/relationships/image" Target="../media/image208.png"/><Relationship Id="rId4" Type="http://schemas.openxmlformats.org/officeDocument/2006/relationships/image" Target="../media/image193.png"/><Relationship Id="rId9" Type="http://schemas.openxmlformats.org/officeDocument/2006/relationships/image" Target="../media/image198.png"/><Relationship Id="rId14" Type="http://schemas.openxmlformats.org/officeDocument/2006/relationships/image" Target="../media/image203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7.png"/><Relationship Id="rId3" Type="http://schemas.openxmlformats.org/officeDocument/2006/relationships/image" Target="../media/image212.png"/><Relationship Id="rId7" Type="http://schemas.openxmlformats.org/officeDocument/2006/relationships/image" Target="../media/image216.png"/><Relationship Id="rId2" Type="http://schemas.openxmlformats.org/officeDocument/2006/relationships/image" Target="../media/image2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15.png"/><Relationship Id="rId5" Type="http://schemas.openxmlformats.org/officeDocument/2006/relationships/image" Target="../media/image214.png"/><Relationship Id="rId10" Type="http://schemas.openxmlformats.org/officeDocument/2006/relationships/image" Target="../media/image219.png"/><Relationship Id="rId4" Type="http://schemas.openxmlformats.org/officeDocument/2006/relationships/image" Target="../media/image213.png"/><Relationship Id="rId9" Type="http://schemas.openxmlformats.org/officeDocument/2006/relationships/image" Target="../media/image218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2197615"/>
            <a:ext cx="8866032" cy="1829271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2407943 w 8257733"/>
              <a:gd name="connsiteY0" fmla="*/ 0 h 865887"/>
              <a:gd name="connsiteX1" fmla="*/ 8015031 w 8257733"/>
              <a:gd name="connsiteY1" fmla="*/ 4241 h 865887"/>
              <a:gd name="connsiteX2" fmla="*/ 8257733 w 8257733"/>
              <a:gd name="connsiteY2" fmla="*/ 865887 h 865887"/>
              <a:gd name="connsiteX3" fmla="*/ 0 w 8257733"/>
              <a:gd name="connsiteY3" fmla="*/ 865887 h 865887"/>
              <a:gd name="connsiteX4" fmla="*/ 2407943 w 8257733"/>
              <a:gd name="connsiteY4" fmla="*/ 0 h 865887"/>
              <a:gd name="connsiteX0" fmla="*/ 7604 w 5857394"/>
              <a:gd name="connsiteY0" fmla="*/ 0 h 865887"/>
              <a:gd name="connsiteX1" fmla="*/ 5614692 w 5857394"/>
              <a:gd name="connsiteY1" fmla="*/ 4241 h 865887"/>
              <a:gd name="connsiteX2" fmla="*/ 5857394 w 5857394"/>
              <a:gd name="connsiteY2" fmla="*/ 865887 h 865887"/>
              <a:gd name="connsiteX3" fmla="*/ 0 w 5857394"/>
              <a:gd name="connsiteY3" fmla="*/ 861335 h 865887"/>
              <a:gd name="connsiteX4" fmla="*/ 7604 w 5857394"/>
              <a:gd name="connsiteY4" fmla="*/ 0 h 865887"/>
              <a:gd name="connsiteX0" fmla="*/ 7604 w 5857394"/>
              <a:gd name="connsiteY0" fmla="*/ 0 h 865887"/>
              <a:gd name="connsiteX1" fmla="*/ 5559172 w 5857394"/>
              <a:gd name="connsiteY1" fmla="*/ 4241 h 865887"/>
              <a:gd name="connsiteX2" fmla="*/ 5857394 w 5857394"/>
              <a:gd name="connsiteY2" fmla="*/ 865887 h 865887"/>
              <a:gd name="connsiteX3" fmla="*/ 0 w 5857394"/>
              <a:gd name="connsiteY3" fmla="*/ 861335 h 865887"/>
              <a:gd name="connsiteX4" fmla="*/ 7604 w 5857394"/>
              <a:gd name="connsiteY4" fmla="*/ 0 h 865887"/>
              <a:gd name="connsiteX0" fmla="*/ 7604 w 5857394"/>
              <a:gd name="connsiteY0" fmla="*/ 223 h 866110"/>
              <a:gd name="connsiteX1" fmla="*/ 5330925 w 5857394"/>
              <a:gd name="connsiteY1" fmla="*/ 0 h 866110"/>
              <a:gd name="connsiteX2" fmla="*/ 5857394 w 5857394"/>
              <a:gd name="connsiteY2" fmla="*/ 866110 h 866110"/>
              <a:gd name="connsiteX3" fmla="*/ 0 w 5857394"/>
              <a:gd name="connsiteY3" fmla="*/ 861558 h 866110"/>
              <a:gd name="connsiteX4" fmla="*/ 7604 w 5857394"/>
              <a:gd name="connsiteY4" fmla="*/ 223 h 866110"/>
              <a:gd name="connsiteX0" fmla="*/ 929 w 5857394"/>
              <a:gd name="connsiteY0" fmla="*/ 5007 h 866110"/>
              <a:gd name="connsiteX1" fmla="*/ 5330925 w 5857394"/>
              <a:gd name="connsiteY1" fmla="*/ 0 h 866110"/>
              <a:gd name="connsiteX2" fmla="*/ 5857394 w 5857394"/>
              <a:gd name="connsiteY2" fmla="*/ 866110 h 866110"/>
              <a:gd name="connsiteX3" fmla="*/ 0 w 5857394"/>
              <a:gd name="connsiteY3" fmla="*/ 861558 h 866110"/>
              <a:gd name="connsiteX4" fmla="*/ 929 w 5857394"/>
              <a:gd name="connsiteY4" fmla="*/ 5007 h 86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57394" h="866110">
                <a:moveTo>
                  <a:pt x="929" y="5007"/>
                </a:moveTo>
                <a:lnTo>
                  <a:pt x="5330925" y="0"/>
                </a:lnTo>
                <a:lnTo>
                  <a:pt x="5857394" y="866110"/>
                </a:lnTo>
                <a:lnTo>
                  <a:pt x="0" y="861558"/>
                </a:lnTo>
                <a:cubicBezTo>
                  <a:pt x="2535" y="574446"/>
                  <a:pt x="-1606" y="292119"/>
                  <a:pt x="929" y="5007"/>
                </a:cubicBezTo>
                <a:close/>
              </a:path>
            </a:pathLst>
          </a:cu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73391"/>
            <a:ext cx="6731284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581543"/>
            <a:ext cx="7495477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baseline="0" dirty="0" smtClean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66581E6-F1A1-C94F-9B57-6872D46EF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734460" y="6098626"/>
            <a:ext cx="1697713" cy="438119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60EE-494F-F242-82E3-18D6F5C9E2F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6923" y="6126556"/>
            <a:ext cx="4040187" cy="3951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 Month Day, Year. Font: Arial 14pt. One Line.</a:t>
            </a:r>
          </a:p>
          <a:p>
            <a:pPr lvl="0"/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Lin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>
          <a:xfrm>
            <a:off x="0" y="3106524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Lin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3705067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Lin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0" y="4323445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genda Lin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4946640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Agenda Lin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5583282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2753513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head with tex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34970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1557233"/>
            <a:ext cx="7886700" cy="2772101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body text. Font: Arial 16pt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EA40A8-8BEA-1B4C-BBC3-8CBDAF7D6B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AD819A-4469-0E47-8148-C7A8EA1611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>
      <p:ext uri="{BB962C8B-B14F-4D97-AF65-F5344CB8AC3E}">
        <p14:creationId xmlns:p14="http://schemas.microsoft.com/office/powerpoint/2010/main" val="11379594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ser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EA40A8-8BEA-1B4C-BBC3-8CBDAF7D6B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AD819A-4469-0E47-8148-C7A8EA1611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57200" y="1234970"/>
            <a:ext cx="7886700" cy="39181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lace Chart Here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head with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34970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572222"/>
            <a:ext cx="7886700" cy="4536754"/>
          </a:xfrm>
          <a:prstGeom prst="rect">
            <a:avLst/>
          </a:prstGeom>
        </p:spPr>
        <p:txBody>
          <a:bodyPr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6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>
                <a:latin typeface="Arial" charset="0"/>
                <a:ea typeface="Arial" charset="0"/>
                <a:cs typeface="Arial" charset="0"/>
              </a:defRPr>
            </a:lvl2pPr>
            <a:lvl3pPr marL="971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9144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Subheads with tex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1566970"/>
            <a:ext cx="7886700" cy="11104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body text. Font: Arial 16pt. 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3526104"/>
            <a:ext cx="7886700" cy="11104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body text. Font: Arial 16pt.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34970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3187147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A413091-5503-9D4C-B800-66B405178D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3F59806-4E5E-3F46-B471-92CF53DA1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2197615"/>
            <a:ext cx="8866032" cy="1829271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2407943 w 8257733"/>
              <a:gd name="connsiteY0" fmla="*/ 0 h 865887"/>
              <a:gd name="connsiteX1" fmla="*/ 8015031 w 8257733"/>
              <a:gd name="connsiteY1" fmla="*/ 4241 h 865887"/>
              <a:gd name="connsiteX2" fmla="*/ 8257733 w 8257733"/>
              <a:gd name="connsiteY2" fmla="*/ 865887 h 865887"/>
              <a:gd name="connsiteX3" fmla="*/ 0 w 8257733"/>
              <a:gd name="connsiteY3" fmla="*/ 865887 h 865887"/>
              <a:gd name="connsiteX4" fmla="*/ 2407943 w 8257733"/>
              <a:gd name="connsiteY4" fmla="*/ 0 h 865887"/>
              <a:gd name="connsiteX0" fmla="*/ 7604 w 5857394"/>
              <a:gd name="connsiteY0" fmla="*/ 0 h 865887"/>
              <a:gd name="connsiteX1" fmla="*/ 5614692 w 5857394"/>
              <a:gd name="connsiteY1" fmla="*/ 4241 h 865887"/>
              <a:gd name="connsiteX2" fmla="*/ 5857394 w 5857394"/>
              <a:gd name="connsiteY2" fmla="*/ 865887 h 865887"/>
              <a:gd name="connsiteX3" fmla="*/ 0 w 5857394"/>
              <a:gd name="connsiteY3" fmla="*/ 861335 h 865887"/>
              <a:gd name="connsiteX4" fmla="*/ 7604 w 5857394"/>
              <a:gd name="connsiteY4" fmla="*/ 0 h 865887"/>
              <a:gd name="connsiteX0" fmla="*/ 7604 w 5857394"/>
              <a:gd name="connsiteY0" fmla="*/ 0 h 865887"/>
              <a:gd name="connsiteX1" fmla="*/ 5559172 w 5857394"/>
              <a:gd name="connsiteY1" fmla="*/ 4241 h 865887"/>
              <a:gd name="connsiteX2" fmla="*/ 5857394 w 5857394"/>
              <a:gd name="connsiteY2" fmla="*/ 865887 h 865887"/>
              <a:gd name="connsiteX3" fmla="*/ 0 w 5857394"/>
              <a:gd name="connsiteY3" fmla="*/ 861335 h 865887"/>
              <a:gd name="connsiteX4" fmla="*/ 7604 w 5857394"/>
              <a:gd name="connsiteY4" fmla="*/ 0 h 865887"/>
              <a:gd name="connsiteX0" fmla="*/ 7604 w 5857394"/>
              <a:gd name="connsiteY0" fmla="*/ 223 h 866110"/>
              <a:gd name="connsiteX1" fmla="*/ 5330925 w 5857394"/>
              <a:gd name="connsiteY1" fmla="*/ 0 h 866110"/>
              <a:gd name="connsiteX2" fmla="*/ 5857394 w 5857394"/>
              <a:gd name="connsiteY2" fmla="*/ 866110 h 866110"/>
              <a:gd name="connsiteX3" fmla="*/ 0 w 5857394"/>
              <a:gd name="connsiteY3" fmla="*/ 861558 h 866110"/>
              <a:gd name="connsiteX4" fmla="*/ 7604 w 5857394"/>
              <a:gd name="connsiteY4" fmla="*/ 223 h 866110"/>
              <a:gd name="connsiteX0" fmla="*/ 929 w 5857394"/>
              <a:gd name="connsiteY0" fmla="*/ 5007 h 866110"/>
              <a:gd name="connsiteX1" fmla="*/ 5330925 w 5857394"/>
              <a:gd name="connsiteY1" fmla="*/ 0 h 866110"/>
              <a:gd name="connsiteX2" fmla="*/ 5857394 w 5857394"/>
              <a:gd name="connsiteY2" fmla="*/ 866110 h 866110"/>
              <a:gd name="connsiteX3" fmla="*/ 0 w 5857394"/>
              <a:gd name="connsiteY3" fmla="*/ 861558 h 866110"/>
              <a:gd name="connsiteX4" fmla="*/ 929 w 5857394"/>
              <a:gd name="connsiteY4" fmla="*/ 5007 h 86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57394" h="866110">
                <a:moveTo>
                  <a:pt x="929" y="5007"/>
                </a:moveTo>
                <a:lnTo>
                  <a:pt x="5330925" y="0"/>
                </a:lnTo>
                <a:lnTo>
                  <a:pt x="5857394" y="866110"/>
                </a:lnTo>
                <a:lnTo>
                  <a:pt x="0" y="861558"/>
                </a:lnTo>
                <a:cubicBezTo>
                  <a:pt x="2535" y="574446"/>
                  <a:pt x="-1606" y="292119"/>
                  <a:pt x="929" y="5007"/>
                </a:cubicBezTo>
                <a:close/>
              </a:path>
            </a:pathLst>
          </a:cu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73391"/>
            <a:ext cx="6599708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581543"/>
            <a:ext cx="7495477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baseline="0" dirty="0" smtClean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E860EE-494F-F242-82E3-18D6F5C9E2F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6923" y="6126556"/>
            <a:ext cx="4040187" cy="3951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 Month Day, Year. Font: Arial 14pt. One Line.</a:t>
            </a:r>
          </a:p>
          <a:p>
            <a:pPr lvl="0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6581E6-F1A1-C94F-9B57-6872D46EF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474" y="6073391"/>
            <a:ext cx="1949264" cy="354597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Subheads with 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572223"/>
            <a:ext cx="7886700" cy="1527272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>
                <a:latin typeface="Arial" charset="0"/>
                <a:ea typeface="Arial" charset="0"/>
                <a:cs typeface="Arial" charset="0"/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Press tab to indent the bullet. Font: Arial 16pt. Bullets should always be square. Do not end bullets with a period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3747261"/>
            <a:ext cx="7886700" cy="1527272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>
                <a:latin typeface="Arial" charset="0"/>
                <a:ea typeface="Arial" charset="0"/>
                <a:cs typeface="Arial" charset="0"/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Press tab to indent the bullet. Font: Arial 16pt. Bullets should always be square. Do not end bullets with a period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34970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3434064"/>
            <a:ext cx="7886700" cy="3222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Intro. Font: Arial Bold 16pt. One Line Only.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99EB176-3861-654A-AA0F-845742547D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115A082-3C93-454C-A5F4-AA7A6577A7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4497387" y="1234970"/>
            <a:ext cx="3846513" cy="498767"/>
          </a:xfrm>
          <a:prstGeom prst="rect">
            <a:avLst/>
          </a:prstGeom>
          <a:noFill/>
        </p:spPr>
        <p:txBody>
          <a:bodyPr tIns="137160">
            <a:normAutofit/>
          </a:bodyPr>
          <a:lstStyle>
            <a:lvl1pPr marL="0" indent="0">
              <a:buFontTx/>
              <a:buNone/>
              <a:defRPr sz="1600" b="1" i="0" u="none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. Font: Arial Bold 16pt.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57200" y="1234970"/>
            <a:ext cx="3871194" cy="391812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lace Image Her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497386" y="1733737"/>
            <a:ext cx="3846513" cy="341935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body text. Font: Arial 16pt.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88CE72-25CB-7546-9FFE-C919C3EA95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3941440-39D5-834B-A04D-5121BB99C9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>
      <p:ext uri="{BB962C8B-B14F-4D97-AF65-F5344CB8AC3E}">
        <p14:creationId xmlns:p14="http://schemas.microsoft.com/office/powerpoint/2010/main" val="1626052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ag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4497387" y="1236332"/>
            <a:ext cx="3846513" cy="498767"/>
          </a:xfrm>
          <a:prstGeom prst="rect">
            <a:avLst/>
          </a:prstGeom>
          <a:noFill/>
        </p:spPr>
        <p:txBody>
          <a:bodyPr tIns="13716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1" i="0" u="none" baseline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. Font: Arial Bold 16pt.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497387" y="1795297"/>
            <a:ext cx="3846513" cy="3387777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6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lang="en-US"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Font: Arial 16pt. Bullets should always be square. Do not end bullets with a perio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edit bullet text. Press tab to indent the bullet. Font: Arial 16pt. Bullets should always be square. Do not end bullets with a perio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57200" y="1234970"/>
            <a:ext cx="3871194" cy="39481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lace Image He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BA3983B-CC25-DA4E-A08F-9913106E3E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F1FFD7B-CF51-A744-BBD2-951E1EC13C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t Ran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1153337" y="1177339"/>
            <a:ext cx="7096142" cy="2569781"/>
          </a:xfrm>
        </p:spPr>
        <p:txBody>
          <a:bodyPr>
            <a:noAutofit/>
          </a:bodyPr>
          <a:lstStyle>
            <a:lvl1pPr marL="0" indent="0">
              <a:buNone/>
              <a:defRPr sz="23000" b="1" i="0" spc="-30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#1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156650" y="3909305"/>
            <a:ext cx="7102767" cy="772025"/>
          </a:xfrm>
        </p:spPr>
        <p:txBody>
          <a:bodyPr/>
          <a:lstStyle>
            <a:lvl1pPr marL="0" indent="0">
              <a:buNone/>
              <a:defRPr sz="40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LICK TO EDIT RANKING STAT. 40PT BOLD CAPS </a:t>
            </a:r>
            <a:br>
              <a:rPr lang="en-US" dirty="0"/>
            </a:b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1189780" y="5115254"/>
            <a:ext cx="7102767" cy="772025"/>
          </a:xfrm>
        </p:spPr>
        <p:txBody>
          <a:bodyPr/>
          <a:lstStyle>
            <a:lvl1pPr marL="0" indent="0">
              <a:buNone/>
              <a:defRPr sz="2400" b="0" i="1" baseline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ource: Arial italic 24pt</a:t>
            </a:r>
            <a:br>
              <a:rPr lang="en-US" dirty="0"/>
            </a:b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1044006" y="1743870"/>
            <a:ext cx="7096142" cy="2569781"/>
          </a:xfrm>
        </p:spPr>
        <p:txBody>
          <a:bodyPr>
            <a:noAutofit/>
          </a:bodyPr>
          <a:lstStyle>
            <a:lvl1pPr marL="0" indent="0">
              <a:buNone/>
              <a:defRPr sz="20000" b="1" spc="-30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200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047320" y="4316810"/>
            <a:ext cx="7342441" cy="2183382"/>
          </a:xfrm>
        </p:spPr>
        <p:txBody>
          <a:bodyPr/>
          <a:lstStyle>
            <a:lvl1pPr marL="0" indent="0">
              <a:buNone/>
              <a:defRPr baseline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lick to edit ranking text. Font: Arial Regular 28pt. Three lines only.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1044006" y="1443366"/>
            <a:ext cx="7102767" cy="772025"/>
          </a:xfrm>
        </p:spPr>
        <p:txBody>
          <a:bodyPr/>
          <a:lstStyle>
            <a:lvl1pPr marL="0" indent="0">
              <a:buNone/>
              <a:defRPr sz="28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LICK TO EDIT RANKING STAT.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0CC1FB6-B4EF-274C-9E6A-232893A25F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2056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with title and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88CCA18-5F3B-204F-9E1D-581DDAE72F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E4E68FF1-0B6E-0E45-BC70-4A153E41F4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3CBF534-963E-7E41-BD28-BFA095ADF2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>
      <p:ext uri="{BB962C8B-B14F-4D97-AF65-F5344CB8AC3E}">
        <p14:creationId xmlns:p14="http://schemas.microsoft.com/office/powerpoint/2010/main" val="3727144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Ta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. Copy and paste out of master to use in your presentati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0375260-F0BD-2B41-BE9A-759F0A18A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2CC43B4-2EE3-7049-9903-05E9299DEB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0E68910F-0C7C-C545-851B-3C4CFB92291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74244858"/>
              </p:ext>
            </p:extLst>
          </p:nvPr>
        </p:nvGraphicFramePr>
        <p:xfrm>
          <a:off x="457200" y="1171645"/>
          <a:ext cx="8321334" cy="3905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05438">
                  <a:extLst>
                    <a:ext uri="{9D8B030D-6E8A-4147-A177-3AD203B41FA5}">
                      <a16:colId xmlns:a16="http://schemas.microsoft.com/office/drawing/2014/main" val="3456989070"/>
                    </a:ext>
                  </a:extLst>
                </a:gridCol>
                <a:gridCol w="1022684">
                  <a:extLst>
                    <a:ext uri="{9D8B030D-6E8A-4147-A177-3AD203B41FA5}">
                      <a16:colId xmlns:a16="http://schemas.microsoft.com/office/drawing/2014/main" val="1749050484"/>
                    </a:ext>
                  </a:extLst>
                </a:gridCol>
                <a:gridCol w="842211">
                  <a:extLst>
                    <a:ext uri="{9D8B030D-6E8A-4147-A177-3AD203B41FA5}">
                      <a16:colId xmlns:a16="http://schemas.microsoft.com/office/drawing/2014/main" val="523590978"/>
                    </a:ext>
                  </a:extLst>
                </a:gridCol>
                <a:gridCol w="751001">
                  <a:extLst>
                    <a:ext uri="{9D8B030D-6E8A-4147-A177-3AD203B41FA5}">
                      <a16:colId xmlns:a16="http://schemas.microsoft.com/office/drawing/2014/main" val="4063531225"/>
                    </a:ext>
                  </a:extLst>
                </a:gridCol>
              </a:tblGrid>
              <a:tr h="308523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844325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 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006198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24733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89721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146465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75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32998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76724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X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5453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03917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Tab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. Copy and paste out of master to use in your presentati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0375260-F0BD-2B41-BE9A-759F0A18A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2CC43B4-2EE3-7049-9903-05E9299DEB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8BA37A0-8A18-8A4C-8454-FE4B2EE5010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63891190"/>
              </p:ext>
            </p:extLst>
          </p:nvPr>
        </p:nvGraphicFramePr>
        <p:xfrm>
          <a:off x="366525" y="1492469"/>
          <a:ext cx="8580966" cy="31772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07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74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18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8093">
                  <a:extLst>
                    <a:ext uri="{9D8B030D-6E8A-4147-A177-3AD203B41FA5}">
                      <a16:colId xmlns:a16="http://schemas.microsoft.com/office/drawing/2014/main" val="893734684"/>
                    </a:ext>
                  </a:extLst>
                </a:gridCol>
                <a:gridCol w="21677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73217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</a:t>
                      </a:r>
                    </a:p>
                    <a:p>
                      <a:pPr algn="ctr"/>
                      <a:r>
                        <a:rPr lang="en-US" sz="900" b="1" baseline="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en-US" sz="900" b="1" dirty="0">
                        <a:solidFill>
                          <a:srgbClr val="00376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</a:t>
                      </a:r>
                    </a:p>
                    <a:p>
                      <a:pPr algn="ctr"/>
                      <a:r>
                        <a:rPr lang="en-US" sz="900" b="1" baseline="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en-US" sz="900" b="1" dirty="0">
                        <a:solidFill>
                          <a:srgbClr val="00376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</a:t>
                      </a:r>
                    </a:p>
                    <a:p>
                      <a:pPr algn="ctr"/>
                      <a:r>
                        <a:rPr lang="en-US" sz="900" b="1" baseline="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en-US" sz="900" b="1" dirty="0">
                        <a:solidFill>
                          <a:srgbClr val="00376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</a:t>
                      </a:r>
                    </a:p>
                    <a:p>
                      <a:pPr algn="ctr"/>
                      <a:r>
                        <a:rPr lang="en-US" sz="900" b="1" baseline="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en-US" sz="900" b="1" dirty="0">
                        <a:solidFill>
                          <a:srgbClr val="00376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</a:t>
                      </a:r>
                    </a:p>
                    <a:p>
                      <a:pPr algn="ctr"/>
                      <a:r>
                        <a:rPr lang="en-US" sz="900" b="1" baseline="0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  <a:endParaRPr lang="en-US" sz="900" b="1" dirty="0">
                        <a:solidFill>
                          <a:srgbClr val="003765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rgbClr val="003765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 anchor="b"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53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 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253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18BA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  <a:p>
                      <a:pPr marL="0" indent="0" algn="ctr">
                        <a:buClr>
                          <a:srgbClr val="718BA2"/>
                        </a:buClr>
                        <a:buFontTx/>
                        <a:buNone/>
                      </a:pPr>
                      <a:endParaRPr lang="en-US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4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4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47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253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it Text</a:t>
                      </a:r>
                    </a:p>
                  </a:txBody>
                  <a:tcPr>
                    <a:lnL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6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6767FAD-D0BB-0345-A9B5-B1852108DCD6}"/>
              </a:ext>
            </a:extLst>
          </p:cNvPr>
          <p:cNvSpPr txBox="1"/>
          <p:nvPr userDrawn="1"/>
        </p:nvSpPr>
        <p:spPr>
          <a:xfrm>
            <a:off x="2801497" y="1245709"/>
            <a:ext cx="3969693" cy="246760"/>
          </a:xfrm>
          <a:prstGeom prst="rect">
            <a:avLst/>
          </a:prstGeom>
          <a:noFill/>
          <a:ln>
            <a:solidFill>
              <a:srgbClr val="A6ABAB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rgbClr val="003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9244818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Tab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. Copy and paste out of master to use in your presentation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30375260-F0BD-2B41-BE9A-759F0A18A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2CC43B4-2EE3-7049-9903-05E9299DEB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FE0A0A9-4E87-834F-B565-A165729077B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69129085"/>
              </p:ext>
            </p:extLst>
          </p:nvPr>
        </p:nvGraphicFramePr>
        <p:xfrm>
          <a:off x="457200" y="1523046"/>
          <a:ext cx="7886702" cy="44348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4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6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0439"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1530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84024"/>
            <a:ext cx="6731284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581543"/>
            <a:ext cx="7495477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baseline="0" dirty="0" smtClean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3099" y="6146767"/>
            <a:ext cx="3998872" cy="395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4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Month Day, Year. Font: Arial 14pt. One Line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FDC9ED-A51B-1B40-881A-9D543810CD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734460" y="6098626"/>
            <a:ext cx="1697713" cy="4381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 Tab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67062209"/>
              </p:ext>
            </p:extLst>
          </p:nvPr>
        </p:nvGraphicFramePr>
        <p:xfrm>
          <a:off x="457200" y="1344028"/>
          <a:ext cx="7886702" cy="44348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49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6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8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0439"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ln>
                          <a:noFill/>
                        </a:ln>
                        <a:solidFill>
                          <a:schemeClr val="accent1"/>
                        </a:solidFill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/>
                          <a:cs typeface="Arial"/>
                        </a:rPr>
                        <a:t> to edit</a:t>
                      </a:r>
                      <a:endParaRPr lang="en-US" sz="900" b="1" dirty="0">
                        <a:ln>
                          <a:noFill/>
                        </a:ln>
                        <a:solidFill>
                          <a:schemeClr val="accent1"/>
                        </a:solidFill>
                        <a:latin typeface="Arial"/>
                        <a:cs typeface="Arial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Arial" panose="020B0604020202020204" pitchFamily="34" charset="0"/>
                        <a:buNone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 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7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2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9533"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Click</a:t>
                      </a:r>
                      <a:r>
                        <a:rPr lang="en-US" sz="900" b="1" baseline="0" dirty="0">
                          <a:solidFill>
                            <a:srgbClr val="003764"/>
                          </a:solidFill>
                          <a:latin typeface="Arial"/>
                          <a:cs typeface="Arial"/>
                        </a:rPr>
                        <a:t> to edit. Sentence case.</a:t>
                      </a:r>
                      <a:endParaRPr lang="en-US" sz="900" b="1" dirty="0">
                        <a:solidFill>
                          <a:srgbClr val="003764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latin typeface="Arial"/>
                          <a:cs typeface="Arial"/>
                        </a:rPr>
                        <a:t>4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  <a:cs typeface="Arial"/>
                        </a:rPr>
                        <a:t>Click to edi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. Copy and paste out of master to use in your presentatio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DD0DEE9-581F-9C4C-8E1F-702C41845AC9}"/>
              </a:ext>
            </a:extLst>
          </p:cNvPr>
          <p:cNvGraphicFramePr/>
          <p:nvPr userDrawn="1">
            <p:extLst/>
          </p:nvPr>
        </p:nvGraphicFramePr>
        <p:xfrm>
          <a:off x="1526298" y="1952421"/>
          <a:ext cx="5748503" cy="417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78B9A05-6C77-754E-A9F2-850C04B645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0C23233-F53A-C544-A3F7-541115F0E0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F2A878C2-59DB-C640-8298-1BEB48630C4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09508" y="1418201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chemeClr val="accent1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chemeClr val="accent1"/>
                </a:solidFill>
              </a:rPr>
              <a:t>1</a:t>
            </a:r>
          </a:p>
          <a:p>
            <a:r>
              <a:rPr lang="en-US" sz="1200" dirty="0">
                <a:solidFill>
                  <a:schemeClr val="accent1"/>
                </a:solidFill>
              </a:rPr>
              <a:t>Projects, N = 65</a:t>
            </a:r>
          </a:p>
        </p:txBody>
      </p:sp>
      <p:sp>
        <p:nvSpPr>
          <p:cNvPr id="14" name="Line 7">
            <a:extLst>
              <a:ext uri="{FF2B5EF4-FFF2-40B4-BE49-F238E27FC236}">
                <a16:creationId xmlns:a16="http://schemas.microsoft.com/office/drawing/2014/main" id="{232822EA-F1C0-D44E-9E40-4F748C36F2E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491925" y="1803937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887130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BDDF2A5C-FFB4-7947-BCF6-AB0F92DA9AB2}"/>
              </a:ext>
            </a:extLst>
          </p:cNvPr>
          <p:cNvGraphicFramePr/>
          <p:nvPr userDrawn="1">
            <p:extLst/>
          </p:nvPr>
        </p:nvGraphicFramePr>
        <p:xfrm>
          <a:off x="628651" y="1829986"/>
          <a:ext cx="7715249" cy="3526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126555-D40A-2843-B627-E204EE8580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BF2B3FC-895A-DC40-ACE1-138519CC67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C70D22C-A3B5-624D-99AE-602D40FDB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5" name="Line 7">
            <a:extLst>
              <a:ext uri="{FF2B5EF4-FFF2-40B4-BE49-F238E27FC236}">
                <a16:creationId xmlns:a16="http://schemas.microsoft.com/office/drawing/2014/main" id="{14F70820-0D1F-0845-80F3-DC893DBF0097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32138699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</a:t>
            </a:r>
          </a:p>
        </p:txBody>
      </p:sp>
      <p:graphicFrame>
        <p:nvGraphicFramePr>
          <p:cNvPr id="18" name="Chart Placeholder 10">
            <a:extLst>
              <a:ext uri="{FF2B5EF4-FFF2-40B4-BE49-F238E27FC236}">
                <a16:creationId xmlns:a16="http://schemas.microsoft.com/office/drawing/2014/main" id="{8293F6B9-FFF0-E34F-B28E-984A7A65333E}"/>
              </a:ext>
            </a:extLst>
          </p:cNvPr>
          <p:cNvGraphicFramePr>
            <a:graphicFrameLocks/>
          </p:cNvGraphicFramePr>
          <p:nvPr userDrawn="1">
            <p:extLst/>
          </p:nvPr>
        </p:nvGraphicFramePr>
        <p:xfrm>
          <a:off x="632267" y="1747300"/>
          <a:ext cx="7886700" cy="4043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EAC81D5-B298-2E42-A0E3-439B852165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DFAD701-ED77-EA42-854C-94FD28656F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648936E1-F94F-0D43-B8E6-ADE69D4E61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2" name="Line 7">
            <a:extLst>
              <a:ext uri="{FF2B5EF4-FFF2-40B4-BE49-F238E27FC236}">
                <a16:creationId xmlns:a16="http://schemas.microsoft.com/office/drawing/2014/main" id="{921CF1D8-E0C5-B249-994A-4D6BA0E2269A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8463599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. FONT: ARIAL BOLD 19PT. Table sample Below</a:t>
            </a:r>
          </a:p>
        </p:txBody>
      </p:sp>
      <p:graphicFrame>
        <p:nvGraphicFramePr>
          <p:cNvPr id="16" name="Chart Placeholder 10">
            <a:extLst>
              <a:ext uri="{FF2B5EF4-FFF2-40B4-BE49-F238E27FC236}">
                <a16:creationId xmlns:a16="http://schemas.microsoft.com/office/drawing/2014/main" id="{C559567C-A986-BE47-8777-4A5826D06A6A}"/>
              </a:ext>
            </a:extLst>
          </p:cNvPr>
          <p:cNvGraphicFramePr>
            <a:graphicFrameLocks/>
          </p:cNvGraphicFramePr>
          <p:nvPr userDrawn="1">
            <p:extLst/>
          </p:nvPr>
        </p:nvGraphicFramePr>
        <p:xfrm>
          <a:off x="632267" y="1747300"/>
          <a:ext cx="7886700" cy="4043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4FC606B-9C6C-9349-8BD3-174CC21835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1ECC797-A31E-DA48-9A02-3C4BC3D41C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3A50CB8B-6C96-D548-B104-AF2B9528DE9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2" name="Line 7">
            <a:extLst>
              <a:ext uri="{FF2B5EF4-FFF2-40B4-BE49-F238E27FC236}">
                <a16:creationId xmlns:a16="http://schemas.microsoft.com/office/drawing/2014/main" id="{A380C669-C503-A341-A6D5-F6ADC2BB4B45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3584406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B403D11-E6E9-244C-A088-A3C7285ECD7A}"/>
              </a:ext>
            </a:extLst>
          </p:cNvPr>
          <p:cNvGraphicFramePr/>
          <p:nvPr userDrawn="1">
            <p:extLst/>
          </p:nvPr>
        </p:nvGraphicFramePr>
        <p:xfrm>
          <a:off x="856343" y="1725894"/>
          <a:ext cx="7662624" cy="410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6">
            <a:extLst>
              <a:ext uri="{FF2B5EF4-FFF2-40B4-BE49-F238E27FC236}">
                <a16:creationId xmlns:a16="http://schemas.microsoft.com/office/drawing/2014/main" id="{C9CECC56-7F72-C441-BA28-3DD3096320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1" name="Line 7">
            <a:extLst>
              <a:ext uri="{FF2B5EF4-FFF2-40B4-BE49-F238E27FC236}">
                <a16:creationId xmlns:a16="http://schemas.microsoft.com/office/drawing/2014/main" id="{DC938B3B-F274-454F-AB06-96845ABEAB32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186509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6D7F717-82BF-A149-BA45-CBA28D8EB8CC}"/>
              </a:ext>
            </a:extLst>
          </p:cNvPr>
          <p:cNvGraphicFramePr/>
          <p:nvPr userDrawn="1">
            <p:extLst/>
          </p:nvPr>
        </p:nvGraphicFramePr>
        <p:xfrm>
          <a:off x="457200" y="1767396"/>
          <a:ext cx="8061767" cy="4085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E0E7F83-7DE2-5440-BC83-4E2618F0C2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F82B74-AE78-1F40-AF7F-8806628D4C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2FC350CD-082B-9F4D-AE54-C464F01906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7" name="Line 7">
            <a:extLst>
              <a:ext uri="{FF2B5EF4-FFF2-40B4-BE49-F238E27FC236}">
                <a16:creationId xmlns:a16="http://schemas.microsoft.com/office/drawing/2014/main" id="{47EB1A26-BC53-1845-B74A-99ADC6710B9D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8306386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>
          <a:xfrm>
            <a:off x="1374126" y="2253372"/>
            <a:ext cx="6293104" cy="2782187"/>
            <a:chOff x="2220541" y="2828492"/>
            <a:chExt cx="4119681" cy="2282290"/>
          </a:xfrm>
        </p:grpSpPr>
        <p:sp>
          <p:nvSpPr>
            <p:cNvPr id="11" name="Rectangle">
              <a:extLst>
                <a:ext uri="{FF2B5EF4-FFF2-40B4-BE49-F238E27FC236}">
                  <a16:creationId xmlns:a16="http://schemas.microsoft.com/office/drawing/2014/main" id="{678D1006-E01D-411F-815F-1EA014F65C83}"/>
                </a:ext>
              </a:extLst>
            </p:cNvPr>
            <p:cNvSpPr/>
            <p:nvPr userDrawn="1"/>
          </p:nvSpPr>
          <p:spPr>
            <a:xfrm>
              <a:off x="3623282" y="2881657"/>
              <a:ext cx="2372533" cy="327327"/>
            </a:xfrm>
            <a:prstGeom prst="rect">
              <a:avLst/>
            </a:prstGeom>
            <a:solidFill>
              <a:srgbClr val="007CBB"/>
            </a:solidFill>
            <a:ln w="12700">
              <a:noFill/>
              <a:miter lim="400000"/>
            </a:ln>
            <a:effectLst/>
          </p:spPr>
          <p:txBody>
            <a:bodyPr lIns="182880" tIns="50800" rIns="50800" bIns="50800" anchor="ctr"/>
            <a:lstStyle/>
            <a:p>
              <a:pPr defTabSz="5842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r>
                <a:rPr lang="en-US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017</a:t>
              </a:r>
              <a:endParaRPr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Rectangle">
              <a:extLst>
                <a:ext uri="{FF2B5EF4-FFF2-40B4-BE49-F238E27FC236}">
                  <a16:creationId xmlns:a16="http://schemas.microsoft.com/office/drawing/2014/main" id="{3E4B37BD-53B3-41DF-A1E8-A9DE26CB3413}"/>
                </a:ext>
              </a:extLst>
            </p:cNvPr>
            <p:cNvSpPr/>
            <p:nvPr userDrawn="1"/>
          </p:nvSpPr>
          <p:spPr>
            <a:xfrm>
              <a:off x="3219243" y="3344597"/>
              <a:ext cx="404039" cy="327327"/>
            </a:xfrm>
            <a:prstGeom prst="rect">
              <a:avLst/>
            </a:prstGeom>
            <a:solidFill>
              <a:srgbClr val="00376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5842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lang="is-I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D82F86C7-F263-43D3-A685-81CA28ABA330}"/>
                </a:ext>
              </a:extLst>
            </p:cNvPr>
            <p:cNvSpPr/>
            <p:nvPr userDrawn="1"/>
          </p:nvSpPr>
          <p:spPr>
            <a:xfrm>
              <a:off x="2772677" y="3807537"/>
              <a:ext cx="850606" cy="327327"/>
            </a:xfrm>
            <a:prstGeom prst="rect">
              <a:avLst/>
            </a:prstGeom>
            <a:solidFill>
              <a:srgbClr val="003764"/>
            </a:soli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5842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lang="is-I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Rectangle">
              <a:extLst>
                <a:ext uri="{FF2B5EF4-FFF2-40B4-BE49-F238E27FC236}">
                  <a16:creationId xmlns:a16="http://schemas.microsoft.com/office/drawing/2014/main" id="{5A962709-D7E0-45CF-A386-852D01FC675D}"/>
                </a:ext>
              </a:extLst>
            </p:cNvPr>
            <p:cNvSpPr/>
            <p:nvPr userDrawn="1"/>
          </p:nvSpPr>
          <p:spPr>
            <a:xfrm>
              <a:off x="3629988" y="4270477"/>
              <a:ext cx="1557754" cy="327327"/>
            </a:xfrm>
            <a:prstGeom prst="rect">
              <a:avLst/>
            </a:prstGeom>
            <a:solidFill>
              <a:srgbClr val="003764"/>
            </a:solidFill>
            <a:ln w="12700">
              <a:miter lim="400000"/>
            </a:ln>
          </p:spPr>
          <p:txBody>
            <a:bodyPr lIns="182880" tIns="50800" rIns="50800" bIns="50800" anchor="ctr"/>
            <a:lstStyle/>
            <a:p>
              <a:pPr defTabSz="5842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r>
                <a:rPr lang="is-IS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014</a:t>
              </a:r>
            </a:p>
          </p:txBody>
        </p:sp>
        <p:sp>
          <p:nvSpPr>
            <p:cNvPr id="15" name="Rectangle">
              <a:extLst>
                <a:ext uri="{FF2B5EF4-FFF2-40B4-BE49-F238E27FC236}">
                  <a16:creationId xmlns:a16="http://schemas.microsoft.com/office/drawing/2014/main" id="{7C736CFC-EAEE-493C-94AF-6EBF7CB2A7A7}"/>
                </a:ext>
              </a:extLst>
            </p:cNvPr>
            <p:cNvSpPr/>
            <p:nvPr userDrawn="1"/>
          </p:nvSpPr>
          <p:spPr>
            <a:xfrm>
              <a:off x="3624374" y="4733416"/>
              <a:ext cx="1563367" cy="327327"/>
            </a:xfrm>
            <a:prstGeom prst="rect">
              <a:avLst/>
            </a:prstGeom>
            <a:solidFill>
              <a:srgbClr val="003764"/>
            </a:solidFill>
            <a:ln w="12700">
              <a:miter lim="400000"/>
            </a:ln>
          </p:spPr>
          <p:txBody>
            <a:bodyPr lIns="182880" tIns="50800" rIns="50800" bIns="50800" anchor="ctr"/>
            <a:lstStyle/>
            <a:p>
              <a:pPr defTabSz="584200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r>
                <a:rPr lang="is-IS" sz="16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013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5995815" y="2870430"/>
              <a:ext cx="344407" cy="2777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00B050"/>
                  </a:solidFill>
                  <a:latin typeface="Arial" charset="0"/>
                  <a:ea typeface="Arial" charset="0"/>
                  <a:cs typeface="Arial" charset="0"/>
                </a:rPr>
                <a:t>143</a:t>
              </a: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2677744" y="3333370"/>
              <a:ext cx="360148" cy="2777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rPr>
                <a:t>(25)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2220541" y="3796310"/>
              <a:ext cx="360148" cy="2777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Arial" charset="0"/>
                  <a:ea typeface="Arial" charset="0"/>
                  <a:cs typeface="Arial" charset="0"/>
                </a:rPr>
                <a:t>(50)</a:t>
              </a:r>
            </a:p>
          </p:txBody>
        </p:sp>
        <p:sp>
          <p:nvSpPr>
            <p:cNvPr id="19" name="TextBox 18"/>
            <p:cNvSpPr txBox="1"/>
            <p:nvPr userDrawn="1"/>
          </p:nvSpPr>
          <p:spPr>
            <a:xfrm>
              <a:off x="5187741" y="4259250"/>
              <a:ext cx="344407" cy="2777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00B050"/>
                  </a:solidFill>
                  <a:latin typeface="Arial" charset="0"/>
                  <a:ea typeface="Arial" charset="0"/>
                  <a:cs typeface="Arial" charset="0"/>
                </a:rPr>
                <a:t>125</a:t>
              </a:r>
            </a:p>
          </p:txBody>
        </p:sp>
        <p:sp>
          <p:nvSpPr>
            <p:cNvPr id="20" name="TextBox 19"/>
            <p:cNvSpPr txBox="1"/>
            <p:nvPr userDrawn="1"/>
          </p:nvSpPr>
          <p:spPr>
            <a:xfrm>
              <a:off x="5187741" y="4722189"/>
              <a:ext cx="344407" cy="2777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00B050"/>
                  </a:solidFill>
                  <a:latin typeface="Arial" charset="0"/>
                  <a:ea typeface="Arial" charset="0"/>
                  <a:cs typeface="Arial" charset="0"/>
                </a:rPr>
                <a:t>125</a:t>
              </a:r>
            </a:p>
          </p:txBody>
        </p:sp>
        <p:cxnSp>
          <p:nvCxnSpPr>
            <p:cNvPr id="22" name="Straight Connector 21"/>
            <p:cNvCxnSpPr/>
            <p:nvPr userDrawn="1"/>
          </p:nvCxnSpPr>
          <p:spPr>
            <a:xfrm flipV="1">
              <a:off x="3623282" y="2828492"/>
              <a:ext cx="0" cy="228229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 userDrawn="1"/>
          </p:nvSpPr>
          <p:spPr>
            <a:xfrm>
              <a:off x="3623282" y="3318073"/>
              <a:ext cx="992877" cy="338554"/>
            </a:xfrm>
            <a:prstGeom prst="rect">
              <a:avLst/>
            </a:prstGeom>
            <a:noFill/>
          </p:spPr>
          <p:txBody>
            <a:bodyPr wrap="square" lIns="182880" rtlCol="0">
              <a:spAutoFit/>
            </a:bodyPr>
            <a:lstStyle/>
            <a:p>
              <a:r>
                <a:rPr lang="is-IS" sz="1600" b="1" dirty="0">
                  <a:solidFill>
                    <a:srgbClr val="003764"/>
                  </a:solidFill>
                  <a:latin typeface="Arial" charset="0"/>
                  <a:ea typeface="Arial" charset="0"/>
                  <a:cs typeface="Arial" charset="0"/>
                </a:rPr>
                <a:t>2016</a:t>
              </a:r>
            </a:p>
          </p:txBody>
        </p:sp>
        <p:sp>
          <p:nvSpPr>
            <p:cNvPr id="24" name="TextBox 23"/>
            <p:cNvSpPr txBox="1"/>
            <p:nvPr userDrawn="1"/>
          </p:nvSpPr>
          <p:spPr>
            <a:xfrm>
              <a:off x="3623282" y="3796310"/>
              <a:ext cx="992877" cy="338554"/>
            </a:xfrm>
            <a:prstGeom prst="rect">
              <a:avLst/>
            </a:prstGeom>
            <a:noFill/>
          </p:spPr>
          <p:txBody>
            <a:bodyPr wrap="square" lIns="182880" rtlCol="0">
              <a:spAutoFit/>
            </a:bodyPr>
            <a:lstStyle/>
            <a:p>
              <a:r>
                <a:rPr lang="is-IS" sz="1600" b="1" dirty="0">
                  <a:solidFill>
                    <a:srgbClr val="003764"/>
                  </a:solidFill>
                  <a:latin typeface="Arial" charset="0"/>
                  <a:ea typeface="Arial" charset="0"/>
                  <a:cs typeface="Arial" charset="0"/>
                </a:rPr>
                <a:t>2015</a:t>
              </a:r>
            </a:p>
          </p:txBody>
        </p:sp>
      </p:grp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97D9F33-238B-2A4C-8C23-EF4671BBCF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1C788DE-A186-B64B-816E-E2F38B939D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800673D2-9166-B246-939D-A687A72ECB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37" name="Line 7">
            <a:extLst>
              <a:ext uri="{FF2B5EF4-FFF2-40B4-BE49-F238E27FC236}">
                <a16:creationId xmlns:a16="http://schemas.microsoft.com/office/drawing/2014/main" id="{1A2AF0BA-AE2B-6A40-99A1-33A4F6A9474F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6915800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B6179E1-EEC1-E24D-93DA-29ABAC8F12C8}"/>
              </a:ext>
            </a:extLst>
          </p:cNvPr>
          <p:cNvGraphicFramePr/>
          <p:nvPr userDrawn="1">
            <p:extLst/>
          </p:nvPr>
        </p:nvGraphicFramePr>
        <p:xfrm>
          <a:off x="457201" y="1747300"/>
          <a:ext cx="7085152" cy="3932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C8C8E04-0461-0A44-AC94-2191AB74B3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585E240-22E8-E64A-945C-2B3EE87B64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8780E16A-895F-4F43-AB26-D345FD1C63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chemeClr val="tx1"/>
                </a:solidFill>
              </a:rPr>
              <a:t>Projects, N = 65</a:t>
            </a:r>
          </a:p>
        </p:txBody>
      </p:sp>
      <p:sp>
        <p:nvSpPr>
          <p:cNvPr id="17" name="Line 7">
            <a:extLst>
              <a:ext uri="{FF2B5EF4-FFF2-40B4-BE49-F238E27FC236}">
                <a16:creationId xmlns:a16="http://schemas.microsoft.com/office/drawing/2014/main" id="{AC4092A3-8A4B-EC4B-AF6E-416EB3CB5142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984852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34A74F49-9D03-A344-BB17-FEC1536E7F45}"/>
              </a:ext>
            </a:extLst>
          </p:cNvPr>
          <p:cNvGraphicFramePr/>
          <p:nvPr userDrawn="1">
            <p:extLst/>
          </p:nvPr>
        </p:nvGraphicFramePr>
        <p:xfrm>
          <a:off x="457200" y="1747300"/>
          <a:ext cx="5933826" cy="4139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32F60-35CF-A045-8607-894D56C2DE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E8BDFEC-377E-DC48-85F7-8CA2AE1E2F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A6BE068-0DC7-3C4D-87C8-CE018F1A8C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4" name="Line 7">
            <a:extLst>
              <a:ext uri="{FF2B5EF4-FFF2-40B4-BE49-F238E27FC236}">
                <a16:creationId xmlns:a16="http://schemas.microsoft.com/office/drawing/2014/main" id="{4DCD3232-B128-1041-9B85-45CEB10A8570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099272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rade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581543"/>
            <a:ext cx="7495477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baseline="0" dirty="0" smtClean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73391"/>
            <a:ext cx="6599708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rgbClr val="0037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3099" y="6146767"/>
            <a:ext cx="3998872" cy="395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4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Month Day, Year. Font: Arial 14pt. One Line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6581E6-F1A1-C94F-9B57-6872D46EF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474" y="6073391"/>
            <a:ext cx="1949264" cy="3545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17"/>
          <p:cNvGraphicFramePr>
            <a:graphicFrameLocks/>
          </p:cNvGraphicFramePr>
          <p:nvPr userDrawn="1">
            <p:extLst/>
          </p:nvPr>
        </p:nvGraphicFramePr>
        <p:xfrm>
          <a:off x="2089206" y="1638594"/>
          <a:ext cx="4622687" cy="4203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B5E6E50-627A-7A41-9015-BDDB963C2A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6148530"/>
            <a:ext cx="6956373" cy="400114"/>
          </a:xfrm>
          <a:prstGeom prst="rect">
            <a:avLst/>
          </a:prstGeom>
        </p:spPr>
        <p:txBody>
          <a:bodyPr vert="horz" anchor="b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0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baseline="30000" dirty="0"/>
              <a:t>1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2 </a:t>
            </a:r>
            <a:r>
              <a:rPr lang="en-US" dirty="0"/>
              <a:t>Footnote: Text, Regular, Font Size 7 Pt, One line for each</a:t>
            </a:r>
            <a:br>
              <a:rPr lang="en-US" dirty="0"/>
            </a:br>
            <a:r>
              <a:rPr lang="en-US" baseline="30000" dirty="0"/>
              <a:t>3 </a:t>
            </a:r>
            <a:r>
              <a:rPr lang="en-US" dirty="0"/>
              <a:t>Footnote: Text, Regular, Font Size 7 Pt, One line for each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13594FE-11B8-2143-BDC5-F3AA2063FB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588198"/>
            <a:ext cx="6956373" cy="26980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00" b="0" i="1" baseline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ource: Source Text, Italics, Font Size 7 Pt, One line each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23A7865B-8F39-A643-8025-C1A5AC72CE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7383" y="1222914"/>
            <a:ext cx="347813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itchFamily="34" charset="0"/>
                <a:ea typeface="-윤고딕130" pitchFamily="18" charset="-127"/>
              </a:defRPr>
            </a:lvl9pPr>
          </a:lstStyle>
          <a:p>
            <a:r>
              <a:rPr lang="en-US" sz="1200" b="1" dirty="0">
                <a:solidFill>
                  <a:srgbClr val="003765"/>
                </a:solidFill>
              </a:rPr>
              <a:t>VEDP-sourced projects pipeline by stage</a:t>
            </a:r>
            <a:r>
              <a:rPr lang="en-US" sz="1200" b="1" baseline="30000" dirty="0">
                <a:solidFill>
                  <a:srgbClr val="003765"/>
                </a:solidFill>
              </a:rPr>
              <a:t>1</a:t>
            </a:r>
          </a:p>
          <a:p>
            <a:r>
              <a:rPr lang="en-US" sz="1200" dirty="0">
                <a:solidFill>
                  <a:srgbClr val="003765"/>
                </a:solidFill>
              </a:rPr>
              <a:t>Projects, N = 65</a:t>
            </a:r>
          </a:p>
        </p:txBody>
      </p:sp>
      <p:sp>
        <p:nvSpPr>
          <p:cNvPr id="15" name="Line 7">
            <a:extLst>
              <a:ext uri="{FF2B5EF4-FFF2-40B4-BE49-F238E27FC236}">
                <a16:creationId xmlns:a16="http://schemas.microsoft.com/office/drawing/2014/main" id="{FFBF4923-F620-5845-A0B1-A1A1CD6E7432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549800" y="1608650"/>
            <a:ext cx="3003629" cy="32734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22709262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8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590943" y="161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590943" y="1362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1590943" y="1807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1590943" y="2002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37" name="Picture Placeholder 36"/>
          <p:cNvSpPr>
            <a:spLocks noGrp="1"/>
          </p:cNvSpPr>
          <p:nvPr>
            <p:ph type="pic" sz="quarter" idx="18" hasCustomPrompt="1"/>
          </p:nvPr>
        </p:nvSpPr>
        <p:spPr>
          <a:xfrm>
            <a:off x="601285" y="1362341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5406473" y="161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5406473" y="1362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406473" y="1807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5406473" y="2002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42" name="Picture Placeholder 36"/>
          <p:cNvSpPr>
            <a:spLocks noGrp="1"/>
          </p:cNvSpPr>
          <p:nvPr>
            <p:ph type="pic" sz="quarter" idx="23" hasCustomPrompt="1"/>
          </p:nvPr>
        </p:nvSpPr>
        <p:spPr>
          <a:xfrm>
            <a:off x="4416815" y="1362341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1590943" y="272108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44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1590943" y="2469392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1590943" y="291442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1590943" y="310980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47" name="Picture Placeholder 36"/>
          <p:cNvSpPr>
            <a:spLocks noGrp="1"/>
          </p:cNvSpPr>
          <p:nvPr>
            <p:ph type="pic" sz="quarter" idx="28" hasCustomPrompt="1"/>
          </p:nvPr>
        </p:nvSpPr>
        <p:spPr>
          <a:xfrm>
            <a:off x="601285" y="2469392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48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5406473" y="272108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49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5406473" y="2469392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50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5406473" y="291442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51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5406473" y="310980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52" name="Picture Placeholder 36"/>
          <p:cNvSpPr>
            <a:spLocks noGrp="1"/>
          </p:cNvSpPr>
          <p:nvPr>
            <p:ph type="pic" sz="quarter" idx="33" hasCustomPrompt="1"/>
          </p:nvPr>
        </p:nvSpPr>
        <p:spPr>
          <a:xfrm>
            <a:off x="4416815" y="2469392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53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1590943" y="382823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54" name="Text Placeholder 20"/>
          <p:cNvSpPr>
            <a:spLocks noGrp="1"/>
          </p:cNvSpPr>
          <p:nvPr>
            <p:ph type="body" sz="quarter" idx="35" hasCustomPrompt="1"/>
          </p:nvPr>
        </p:nvSpPr>
        <p:spPr>
          <a:xfrm>
            <a:off x="1590943" y="3576543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55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1590943" y="402157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56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1590943" y="421695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57" name="Picture Placeholder 36"/>
          <p:cNvSpPr>
            <a:spLocks noGrp="1"/>
          </p:cNvSpPr>
          <p:nvPr>
            <p:ph type="pic" sz="quarter" idx="38" hasCustomPrompt="1"/>
          </p:nvPr>
        </p:nvSpPr>
        <p:spPr>
          <a:xfrm>
            <a:off x="601285" y="3576543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58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5406473" y="382823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59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5406473" y="3576543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60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5406473" y="402157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61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5406473" y="421695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62" name="Picture Placeholder 36"/>
          <p:cNvSpPr>
            <a:spLocks noGrp="1"/>
          </p:cNvSpPr>
          <p:nvPr>
            <p:ph type="pic" sz="quarter" idx="43" hasCustomPrompt="1"/>
          </p:nvPr>
        </p:nvSpPr>
        <p:spPr>
          <a:xfrm>
            <a:off x="4416815" y="3576543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63" name="Text Placeholder 18"/>
          <p:cNvSpPr>
            <a:spLocks noGrp="1"/>
          </p:cNvSpPr>
          <p:nvPr>
            <p:ph type="body" sz="quarter" idx="44" hasCustomPrompt="1"/>
          </p:nvPr>
        </p:nvSpPr>
        <p:spPr>
          <a:xfrm>
            <a:off x="1590943" y="493538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64" name="Text Placeholder 20"/>
          <p:cNvSpPr>
            <a:spLocks noGrp="1"/>
          </p:cNvSpPr>
          <p:nvPr>
            <p:ph type="body" sz="quarter" idx="45" hasCustomPrompt="1"/>
          </p:nvPr>
        </p:nvSpPr>
        <p:spPr>
          <a:xfrm>
            <a:off x="1590943" y="4683694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65" name="Text Placeholder 18"/>
          <p:cNvSpPr>
            <a:spLocks noGrp="1"/>
          </p:cNvSpPr>
          <p:nvPr>
            <p:ph type="body" sz="quarter" idx="46" hasCustomPrompt="1"/>
          </p:nvPr>
        </p:nvSpPr>
        <p:spPr>
          <a:xfrm>
            <a:off x="1590943" y="5128727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66" name="Text Placeholder 18"/>
          <p:cNvSpPr>
            <a:spLocks noGrp="1"/>
          </p:cNvSpPr>
          <p:nvPr>
            <p:ph type="body" sz="quarter" idx="47" hasCustomPrompt="1"/>
          </p:nvPr>
        </p:nvSpPr>
        <p:spPr>
          <a:xfrm>
            <a:off x="1590943" y="532410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67" name="Picture Placeholder 36"/>
          <p:cNvSpPr>
            <a:spLocks noGrp="1"/>
          </p:cNvSpPr>
          <p:nvPr>
            <p:ph type="pic" sz="quarter" idx="48" hasCustomPrompt="1"/>
          </p:nvPr>
        </p:nvSpPr>
        <p:spPr>
          <a:xfrm>
            <a:off x="601285" y="4683694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68" name="Text Placeholder 18"/>
          <p:cNvSpPr>
            <a:spLocks noGrp="1"/>
          </p:cNvSpPr>
          <p:nvPr>
            <p:ph type="body" sz="quarter" idx="49" hasCustomPrompt="1"/>
          </p:nvPr>
        </p:nvSpPr>
        <p:spPr>
          <a:xfrm>
            <a:off x="5406473" y="493538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69" name="Text Placeholder 20"/>
          <p:cNvSpPr>
            <a:spLocks noGrp="1"/>
          </p:cNvSpPr>
          <p:nvPr>
            <p:ph type="body" sz="quarter" idx="50" hasCustomPrompt="1"/>
          </p:nvPr>
        </p:nvSpPr>
        <p:spPr>
          <a:xfrm>
            <a:off x="5406473" y="4683694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70" name="Text Placeholder 18"/>
          <p:cNvSpPr>
            <a:spLocks noGrp="1"/>
          </p:cNvSpPr>
          <p:nvPr>
            <p:ph type="body" sz="quarter" idx="51" hasCustomPrompt="1"/>
          </p:nvPr>
        </p:nvSpPr>
        <p:spPr>
          <a:xfrm>
            <a:off x="5406473" y="5128727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71" name="Text Placeholder 18"/>
          <p:cNvSpPr>
            <a:spLocks noGrp="1"/>
          </p:cNvSpPr>
          <p:nvPr>
            <p:ph type="body" sz="quarter" idx="52" hasCustomPrompt="1"/>
          </p:nvPr>
        </p:nvSpPr>
        <p:spPr>
          <a:xfrm>
            <a:off x="5406473" y="532410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72" name="Picture Placeholder 36"/>
          <p:cNvSpPr>
            <a:spLocks noGrp="1"/>
          </p:cNvSpPr>
          <p:nvPr>
            <p:ph type="pic" sz="quarter" idx="53" hasCustomPrompt="1"/>
          </p:nvPr>
        </p:nvSpPr>
        <p:spPr>
          <a:xfrm>
            <a:off x="4416815" y="4683694"/>
            <a:ext cx="834225" cy="835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7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9344440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6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911219" y="161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51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911219" y="1362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52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1911219" y="1807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53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1911219" y="2002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54" name="Picture Placeholder 36"/>
          <p:cNvSpPr>
            <a:spLocks noGrp="1"/>
          </p:cNvSpPr>
          <p:nvPr>
            <p:ph type="pic" sz="quarter" idx="18" hasCustomPrompt="1"/>
          </p:nvPr>
        </p:nvSpPr>
        <p:spPr>
          <a:xfrm>
            <a:off x="577432" y="1362341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80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1911219" y="317736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81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1911219" y="2925670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82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1911219" y="337070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83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1911219" y="356608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84" name="Picture Placeholder 36"/>
          <p:cNvSpPr>
            <a:spLocks noGrp="1"/>
          </p:cNvSpPr>
          <p:nvPr>
            <p:ph type="pic" sz="quarter" idx="23" hasCustomPrompt="1"/>
          </p:nvPr>
        </p:nvSpPr>
        <p:spPr>
          <a:xfrm>
            <a:off x="577432" y="2925670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85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1911219" y="474069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86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1911219" y="4489000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87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1911219" y="493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88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1911219" y="512941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89" name="Picture Placeholder 36"/>
          <p:cNvSpPr>
            <a:spLocks noGrp="1"/>
          </p:cNvSpPr>
          <p:nvPr>
            <p:ph type="pic" sz="quarter" idx="28" hasCustomPrompt="1"/>
          </p:nvPr>
        </p:nvSpPr>
        <p:spPr>
          <a:xfrm>
            <a:off x="577432" y="4489000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90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6030933" y="161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91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6030933" y="1362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92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6030933" y="1807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93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6030933" y="2002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94" name="Picture Placeholder 36"/>
          <p:cNvSpPr>
            <a:spLocks noGrp="1"/>
          </p:cNvSpPr>
          <p:nvPr>
            <p:ph type="pic" sz="quarter" idx="33" hasCustomPrompt="1"/>
          </p:nvPr>
        </p:nvSpPr>
        <p:spPr>
          <a:xfrm>
            <a:off x="4697146" y="1362341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95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030933" y="317736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96" name="Text Placeholder 20"/>
          <p:cNvSpPr>
            <a:spLocks noGrp="1"/>
          </p:cNvSpPr>
          <p:nvPr>
            <p:ph type="body" sz="quarter" idx="35" hasCustomPrompt="1"/>
          </p:nvPr>
        </p:nvSpPr>
        <p:spPr>
          <a:xfrm>
            <a:off x="6030933" y="2925670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97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030933" y="337070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98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030933" y="356608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99" name="Picture Placeholder 36"/>
          <p:cNvSpPr>
            <a:spLocks noGrp="1"/>
          </p:cNvSpPr>
          <p:nvPr>
            <p:ph type="pic" sz="quarter" idx="38" hasCustomPrompt="1"/>
          </p:nvPr>
        </p:nvSpPr>
        <p:spPr>
          <a:xfrm>
            <a:off x="4697146" y="2925670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100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6030933" y="474069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01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6030933" y="4489000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02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6030933" y="493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103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6030933" y="512941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04" name="Picture Placeholder 36"/>
          <p:cNvSpPr>
            <a:spLocks noGrp="1"/>
          </p:cNvSpPr>
          <p:nvPr>
            <p:ph type="pic" sz="quarter" idx="43" hasCustomPrompt="1"/>
          </p:nvPr>
        </p:nvSpPr>
        <p:spPr>
          <a:xfrm>
            <a:off x="4697146" y="4489000"/>
            <a:ext cx="1191666" cy="11940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3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6532210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4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958498" y="193208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958498" y="1680393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1958498" y="212542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1958498" y="232080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4" name="Picture Placeholder 36"/>
          <p:cNvSpPr>
            <a:spLocks noGrp="1"/>
          </p:cNvSpPr>
          <p:nvPr>
            <p:ph type="pic" sz="quarter" idx="18" hasCustomPrompt="1"/>
          </p:nvPr>
        </p:nvSpPr>
        <p:spPr>
          <a:xfrm>
            <a:off x="585383" y="1680394"/>
            <a:ext cx="1270168" cy="1272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60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6078211" y="193208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61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6078211" y="1680393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62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6078211" y="2125426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63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6078211" y="2320805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64" name="Picture Placeholder 36"/>
          <p:cNvSpPr>
            <a:spLocks noGrp="1"/>
          </p:cNvSpPr>
          <p:nvPr>
            <p:ph type="pic" sz="quarter" idx="23" hasCustomPrompt="1"/>
          </p:nvPr>
        </p:nvSpPr>
        <p:spPr>
          <a:xfrm>
            <a:off x="4705096" y="1680394"/>
            <a:ext cx="1270168" cy="1272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65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1958498" y="3928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66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1958498" y="3676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67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1958498" y="4121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68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1958498" y="4316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69" name="Picture Placeholder 36"/>
          <p:cNvSpPr>
            <a:spLocks noGrp="1"/>
          </p:cNvSpPr>
          <p:nvPr>
            <p:ph type="pic" sz="quarter" idx="28" hasCustomPrompt="1"/>
          </p:nvPr>
        </p:nvSpPr>
        <p:spPr>
          <a:xfrm>
            <a:off x="585383" y="3676342"/>
            <a:ext cx="1270168" cy="1272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70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6078211" y="3928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71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6078211" y="3676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72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6078211" y="4121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73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6078211" y="4316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74" name="Picture Placeholder 36"/>
          <p:cNvSpPr>
            <a:spLocks noGrp="1"/>
          </p:cNvSpPr>
          <p:nvPr>
            <p:ph type="pic" sz="quarter" idx="33" hasCustomPrompt="1"/>
          </p:nvPr>
        </p:nvSpPr>
        <p:spPr>
          <a:xfrm>
            <a:off x="4705096" y="3676342"/>
            <a:ext cx="1270168" cy="1272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7494813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2892562" y="161403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2892562" y="1362341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2892562" y="1807374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2892562" y="2002753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5" name="Picture Placeholder 36"/>
          <p:cNvSpPr>
            <a:spLocks noGrp="1"/>
          </p:cNvSpPr>
          <p:nvPr>
            <p:ph type="pic" sz="quarter" idx="18" hasCustomPrompt="1"/>
          </p:nvPr>
        </p:nvSpPr>
        <p:spPr>
          <a:xfrm>
            <a:off x="585382" y="1362342"/>
            <a:ext cx="2191247" cy="21956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31" name="Text Placehold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2892562" y="4140921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0" hasCustomPrompt="1"/>
          </p:nvPr>
        </p:nvSpPr>
        <p:spPr>
          <a:xfrm>
            <a:off x="2892562" y="3889229"/>
            <a:ext cx="2538777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2892562" y="4334262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2892562" y="4529641"/>
            <a:ext cx="2538777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35" name="Picture Placeholder 36"/>
          <p:cNvSpPr>
            <a:spLocks noGrp="1"/>
          </p:cNvSpPr>
          <p:nvPr>
            <p:ph type="pic" sz="quarter" idx="23" hasCustomPrompt="1"/>
          </p:nvPr>
        </p:nvSpPr>
        <p:spPr>
          <a:xfrm>
            <a:off x="585382" y="3889230"/>
            <a:ext cx="2191247" cy="21956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15416278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59246" y="1808502"/>
            <a:ext cx="3669487" cy="314771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4259246" y="1362341"/>
            <a:ext cx="3669487" cy="3484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5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4259246" y="2251580"/>
            <a:ext cx="3669487" cy="285143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Phone</a:t>
            </a:r>
            <a:endParaRPr lang="en-US" dirty="0"/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259246" y="2665030"/>
            <a:ext cx="3669487" cy="314144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7" name="Picture Placeholder 36"/>
          <p:cNvSpPr>
            <a:spLocks noGrp="1"/>
          </p:cNvSpPr>
          <p:nvPr>
            <p:ph type="pic" sz="quarter" idx="18" hasCustomPrompt="1"/>
          </p:nvPr>
        </p:nvSpPr>
        <p:spPr>
          <a:xfrm>
            <a:off x="585382" y="1362342"/>
            <a:ext cx="3497643" cy="35046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dit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7493260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3 up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64863" y="3147866"/>
            <a:ext cx="2134338" cy="18988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764863" y="2798604"/>
            <a:ext cx="2134338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764863" y="3440815"/>
            <a:ext cx="2134338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Phon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764862" y="3739260"/>
            <a:ext cx="2134339" cy="23900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3377570" y="3147866"/>
            <a:ext cx="2134338" cy="18988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3377570" y="2798604"/>
            <a:ext cx="2134338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3377570" y="3440815"/>
            <a:ext cx="2134338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Phone</a:t>
            </a:r>
          </a:p>
        </p:txBody>
      </p:sp>
      <p:sp>
        <p:nvSpPr>
          <p:cNvPr id="23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3377569" y="3739260"/>
            <a:ext cx="2134339" cy="23900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2" hasCustomPrompt="1"/>
          </p:nvPr>
        </p:nvSpPr>
        <p:spPr>
          <a:xfrm>
            <a:off x="6064208" y="3147866"/>
            <a:ext cx="2134338" cy="18988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6064208" y="2798604"/>
            <a:ext cx="2134338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6064208" y="3440815"/>
            <a:ext cx="2134338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Phone</a:t>
            </a:r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6064207" y="3739260"/>
            <a:ext cx="2134339" cy="23900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10779759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 up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964398" y="3305181"/>
            <a:ext cx="2134338" cy="18988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15" hasCustomPrompt="1"/>
          </p:nvPr>
        </p:nvSpPr>
        <p:spPr>
          <a:xfrm>
            <a:off x="1964398" y="2955919"/>
            <a:ext cx="2134338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1964398" y="3598130"/>
            <a:ext cx="2134338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Phon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1964397" y="3896575"/>
            <a:ext cx="2134339" cy="23900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4577105" y="3305181"/>
            <a:ext cx="2134338" cy="18988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Edit Title</a:t>
            </a:r>
            <a:endParaRPr lang="en-US" dirty="0"/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577105" y="2955919"/>
            <a:ext cx="2134338" cy="246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Name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4577105" y="3598130"/>
            <a:ext cx="2134338" cy="19537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Phone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577104" y="3896575"/>
            <a:ext cx="2134339" cy="239001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Emai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13704514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DB7A60-3075-F84A-8BD5-C86FBCED50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520" y="1861961"/>
            <a:ext cx="2388152" cy="7062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B278389-0AEC-4D45-B2D3-305A6E66FF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24808" y="1856879"/>
            <a:ext cx="2307492" cy="73002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C5B8505-9724-BF48-B409-2C17BA90249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94003" y="1190202"/>
            <a:ext cx="1538080" cy="601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63193-04C5-7B46-B2FF-70E47C7F5BF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8779" y="1856879"/>
            <a:ext cx="2205230" cy="71136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6A1B797-03DB-2849-A625-E4E2B32064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5302" y="3721077"/>
            <a:ext cx="2240798" cy="7012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DDCEAB4-62CA-D444-AA99-CD74F39754E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751903" y="2938704"/>
            <a:ext cx="1422281" cy="50744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1A1A483-29D4-E54B-8354-B31F536FCF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550771" y="3721077"/>
            <a:ext cx="2164550" cy="73513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1EC2F89-9B1D-3B4E-84DC-FB921624664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578554" y="3689068"/>
            <a:ext cx="2578061" cy="76065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4BCE980-0A56-1F43-8934-4E9E4002DB9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479464" y="4731134"/>
            <a:ext cx="3967159" cy="60492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91F4784-3031-DB4C-94D0-F6443072596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222992" y="5505431"/>
            <a:ext cx="2242721" cy="66399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C608DD4-5B4F-B74B-A2B4-B42001A212A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582722" y="5505431"/>
            <a:ext cx="2080205" cy="63613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A918A2D-8EC8-0146-A778-E5FC2F58567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585461" y="3767022"/>
            <a:ext cx="2297282" cy="68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1013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Map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Map icons</a:t>
            </a:r>
          </a:p>
        </p:txBody>
      </p:sp>
      <p:sp>
        <p:nvSpPr>
          <p:cNvPr id="186" name="Text Placeholder 20">
            <a:extLst>
              <a:ext uri="{FF2B5EF4-FFF2-40B4-BE49-F238E27FC236}">
                <a16:creationId xmlns:a16="http://schemas.microsoft.com/office/drawing/2014/main" id="{FD054202-0EF4-DC45-9F63-C031020F20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9" y="4306820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ransportation Routes &amp; Icons</a:t>
            </a:r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43724FFB-3DE8-6A4D-9FF7-1A50DEDEF9E9}"/>
              </a:ext>
            </a:extLst>
          </p:cNvPr>
          <p:cNvGrpSpPr/>
          <p:nvPr userDrawn="1"/>
        </p:nvGrpSpPr>
        <p:grpSpPr>
          <a:xfrm>
            <a:off x="537897" y="4820319"/>
            <a:ext cx="3165911" cy="1445956"/>
            <a:chOff x="537897" y="4713225"/>
            <a:chExt cx="3165911" cy="1445956"/>
          </a:xfrm>
        </p:grpSpPr>
        <p:grpSp>
          <p:nvGrpSpPr>
            <p:cNvPr id="282" name="Group 281">
              <a:extLst>
                <a:ext uri="{FF2B5EF4-FFF2-40B4-BE49-F238E27FC236}">
                  <a16:creationId xmlns:a16="http://schemas.microsoft.com/office/drawing/2014/main" id="{3C785FCA-0223-4D44-B18C-3081E353A24E}"/>
                </a:ext>
              </a:extLst>
            </p:cNvPr>
            <p:cNvGrpSpPr/>
            <p:nvPr userDrawn="1"/>
          </p:nvGrpSpPr>
          <p:grpSpPr>
            <a:xfrm>
              <a:off x="537897" y="4721917"/>
              <a:ext cx="948926" cy="1342888"/>
              <a:chOff x="537897" y="4728447"/>
              <a:chExt cx="948926" cy="1342888"/>
            </a:xfrm>
          </p:grpSpPr>
          <p:grpSp>
            <p:nvGrpSpPr>
              <p:cNvPr id="269" name="Group 268">
                <a:extLst>
                  <a:ext uri="{FF2B5EF4-FFF2-40B4-BE49-F238E27FC236}">
                    <a16:creationId xmlns:a16="http://schemas.microsoft.com/office/drawing/2014/main" id="{6EB007A5-5903-AF48-9BE1-F9DC9F5909B2}"/>
                  </a:ext>
                </a:extLst>
              </p:cNvPr>
              <p:cNvGrpSpPr/>
              <p:nvPr userDrawn="1"/>
            </p:nvGrpSpPr>
            <p:grpSpPr>
              <a:xfrm>
                <a:off x="537897" y="4728447"/>
                <a:ext cx="948925" cy="196065"/>
                <a:chOff x="481617" y="4728447"/>
                <a:chExt cx="948925" cy="196065"/>
              </a:xfrm>
            </p:grpSpPr>
            <p:pic>
              <p:nvPicPr>
                <p:cNvPr id="231" name="Picture Placeholder 10">
                  <a:extLst>
                    <a:ext uri="{FF2B5EF4-FFF2-40B4-BE49-F238E27FC236}">
                      <a16:creationId xmlns:a16="http://schemas.microsoft.com/office/drawing/2014/main" id="{53F70E23-191B-DC43-ACF7-33B35EC3900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481617" y="4728447"/>
                  <a:ext cx="414485" cy="19505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68" name="Picture Placeholder 10">
                  <a:extLst>
                    <a:ext uri="{FF2B5EF4-FFF2-40B4-BE49-F238E27FC236}">
                      <a16:creationId xmlns:a16="http://schemas.microsoft.com/office/drawing/2014/main" id="{A670DFE7-6E61-FE41-8FC7-4BACEE99089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016059" y="4729461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8B9CE465-9203-7747-954E-2CA833A877C2}"/>
                  </a:ext>
                </a:extLst>
              </p:cNvPr>
              <p:cNvGrpSpPr/>
              <p:nvPr userDrawn="1"/>
            </p:nvGrpSpPr>
            <p:grpSpPr>
              <a:xfrm>
                <a:off x="537898" y="5036574"/>
                <a:ext cx="948924" cy="196065"/>
                <a:chOff x="481618" y="4728447"/>
                <a:chExt cx="948924" cy="196065"/>
              </a:xfrm>
            </p:grpSpPr>
            <p:pic>
              <p:nvPicPr>
                <p:cNvPr id="271" name="Picture Placeholder 10">
                  <a:extLst>
                    <a:ext uri="{FF2B5EF4-FFF2-40B4-BE49-F238E27FC236}">
                      <a16:creationId xmlns:a16="http://schemas.microsoft.com/office/drawing/2014/main" id="{7AC69E57-31F8-A440-9EA5-CB6F54A589B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81618" y="4728447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2" name="Picture Placeholder 10">
                  <a:extLst>
                    <a:ext uri="{FF2B5EF4-FFF2-40B4-BE49-F238E27FC236}">
                      <a16:creationId xmlns:a16="http://schemas.microsoft.com/office/drawing/2014/main" id="{CAAB0626-BD46-8E45-9012-D8B2EF2468B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16059" y="4729461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3" name="Group 272">
                <a:extLst>
                  <a:ext uri="{FF2B5EF4-FFF2-40B4-BE49-F238E27FC236}">
                    <a16:creationId xmlns:a16="http://schemas.microsoft.com/office/drawing/2014/main" id="{A0199657-3DEA-7342-AD27-950E0320259A}"/>
                  </a:ext>
                </a:extLst>
              </p:cNvPr>
              <p:cNvGrpSpPr/>
              <p:nvPr userDrawn="1"/>
            </p:nvGrpSpPr>
            <p:grpSpPr>
              <a:xfrm>
                <a:off x="537897" y="5350796"/>
                <a:ext cx="948926" cy="183875"/>
                <a:chOff x="481617" y="4734542"/>
                <a:chExt cx="948926" cy="183875"/>
              </a:xfrm>
            </p:grpSpPr>
            <p:pic>
              <p:nvPicPr>
                <p:cNvPr id="274" name="Picture Placeholder 10">
                  <a:extLst>
                    <a:ext uri="{FF2B5EF4-FFF2-40B4-BE49-F238E27FC236}">
                      <a16:creationId xmlns:a16="http://schemas.microsoft.com/office/drawing/2014/main" id="{FA4F9528-68A1-E04C-8D70-FEBCD20BF39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1617" y="4734542"/>
                  <a:ext cx="414485" cy="18286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5" name="Picture Placeholder 10">
                  <a:extLst>
                    <a:ext uri="{FF2B5EF4-FFF2-40B4-BE49-F238E27FC236}">
                      <a16:creationId xmlns:a16="http://schemas.microsoft.com/office/drawing/2014/main" id="{BFA44653-F3D6-574F-8224-E8D2656B37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16058" y="4735556"/>
                  <a:ext cx="414485" cy="18286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FBC96464-96ED-4643-ABDE-4842D90D3489}"/>
                  </a:ext>
                </a:extLst>
              </p:cNvPr>
              <p:cNvGrpSpPr/>
              <p:nvPr userDrawn="1"/>
            </p:nvGrpSpPr>
            <p:grpSpPr>
              <a:xfrm>
                <a:off x="537897" y="5677209"/>
                <a:ext cx="948926" cy="147302"/>
                <a:chOff x="481617" y="4752828"/>
                <a:chExt cx="948926" cy="147302"/>
              </a:xfrm>
            </p:grpSpPr>
            <p:pic>
              <p:nvPicPr>
                <p:cNvPr id="277" name="Picture Placeholder 10">
                  <a:extLst>
                    <a:ext uri="{FF2B5EF4-FFF2-40B4-BE49-F238E27FC236}">
                      <a16:creationId xmlns:a16="http://schemas.microsoft.com/office/drawing/2014/main" id="{F0B73528-0BD0-4749-9D14-5F5B34BE6B6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81617" y="4752828"/>
                  <a:ext cx="414485" cy="146288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8" name="Picture Placeholder 10">
                  <a:extLst>
                    <a:ext uri="{FF2B5EF4-FFF2-40B4-BE49-F238E27FC236}">
                      <a16:creationId xmlns:a16="http://schemas.microsoft.com/office/drawing/2014/main" id="{D66C06C6-9510-A340-A90D-C01B1093FC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16058" y="4753842"/>
                  <a:ext cx="414485" cy="146288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9" name="Group 278">
                <a:extLst>
                  <a:ext uri="{FF2B5EF4-FFF2-40B4-BE49-F238E27FC236}">
                    <a16:creationId xmlns:a16="http://schemas.microsoft.com/office/drawing/2014/main" id="{E531E1AE-694F-5248-81CF-29CD48449103}"/>
                  </a:ext>
                </a:extLst>
              </p:cNvPr>
              <p:cNvGrpSpPr/>
              <p:nvPr userDrawn="1"/>
            </p:nvGrpSpPr>
            <p:grpSpPr>
              <a:xfrm>
                <a:off x="537897" y="6046637"/>
                <a:ext cx="948926" cy="24698"/>
                <a:chOff x="481617" y="4814130"/>
                <a:chExt cx="948926" cy="24698"/>
              </a:xfrm>
            </p:grpSpPr>
            <p:pic>
              <p:nvPicPr>
                <p:cNvPr id="280" name="Picture Placeholder 10">
                  <a:extLst>
                    <a:ext uri="{FF2B5EF4-FFF2-40B4-BE49-F238E27FC236}">
                      <a16:creationId xmlns:a16="http://schemas.microsoft.com/office/drawing/2014/main" id="{2BDFB8AB-BD4B-DC41-A40F-44C8A0A194A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81617" y="4814130"/>
                  <a:ext cx="414485" cy="2368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81" name="Picture Placeholder 10">
                  <a:extLst>
                    <a:ext uri="{FF2B5EF4-FFF2-40B4-BE49-F238E27FC236}">
                      <a16:creationId xmlns:a16="http://schemas.microsoft.com/office/drawing/2014/main" id="{C6940C18-31BA-BA4A-9BD4-06A72FACEE8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16058" y="4815144"/>
                  <a:ext cx="414485" cy="23684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FB4D7DB-60B0-2343-955F-2FA757484A78}"/>
                </a:ext>
              </a:extLst>
            </p:cNvPr>
            <p:cNvGrpSpPr/>
            <p:nvPr userDrawn="1"/>
          </p:nvGrpSpPr>
          <p:grpSpPr>
            <a:xfrm>
              <a:off x="1485068" y="4713225"/>
              <a:ext cx="2218740" cy="1445956"/>
              <a:chOff x="1589261" y="4701947"/>
              <a:chExt cx="1317896" cy="1445956"/>
            </a:xfrm>
          </p:grpSpPr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A0EE3EA8-C845-0B4A-B65C-A34AA5AAD4C7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terstate Single/Double Digit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64354C1E-AE3C-4242-AA46-380A830E64AD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terstate Triple Digit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D1AFA884-3C00-C24C-A5F4-EBCFB6265797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Highway</a:t>
                </a: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C639DF1F-F4BA-2A4F-8B80-A821790629A4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Route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59EBA501-CEA4-1A4F-B1B2-882B8D63EDA4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Railway</a:t>
                </a:r>
              </a:p>
            </p:txBody>
          </p:sp>
        </p:grpSp>
      </p:grpSp>
      <p:sp>
        <p:nvSpPr>
          <p:cNvPr id="243" name="Text Placeholder 20">
            <a:extLst>
              <a:ext uri="{FF2B5EF4-FFF2-40B4-BE49-F238E27FC236}">
                <a16:creationId xmlns:a16="http://schemas.microsoft.com/office/drawing/2014/main" id="{B68F2E4F-282B-9E40-BEA7-84C58757B4F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199632" y="4306820"/>
            <a:ext cx="3180475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frastructure Icons</a:t>
            </a:r>
          </a:p>
        </p:txBody>
      </p: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FBCD19E8-A42A-0840-BB1F-E263C0F9249C}"/>
              </a:ext>
            </a:extLst>
          </p:cNvPr>
          <p:cNvGrpSpPr/>
          <p:nvPr userDrawn="1"/>
        </p:nvGrpSpPr>
        <p:grpSpPr>
          <a:xfrm>
            <a:off x="6289280" y="4820319"/>
            <a:ext cx="3167666" cy="1445956"/>
            <a:chOff x="6289280" y="4713225"/>
            <a:chExt cx="3167666" cy="1445956"/>
          </a:xfrm>
        </p:grpSpPr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6F78ADFA-1BA0-964C-8B8B-8341B82C8562}"/>
                </a:ext>
              </a:extLst>
            </p:cNvPr>
            <p:cNvGrpSpPr/>
            <p:nvPr userDrawn="1"/>
          </p:nvGrpSpPr>
          <p:grpSpPr>
            <a:xfrm>
              <a:off x="7238206" y="4713225"/>
              <a:ext cx="2218740" cy="1445956"/>
              <a:chOff x="1589261" y="4701947"/>
              <a:chExt cx="1317896" cy="1445956"/>
            </a:xfrm>
          </p:grpSpPr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08D56B1E-642C-424E-B931-CA429D9DFE74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Sewer Line</a:t>
                </a:r>
              </a:p>
            </p:txBody>
          </p:sp>
          <p:sp>
            <p:nvSpPr>
              <p:cNvPr id="262" name="Rectangle 261">
                <a:extLst>
                  <a:ext uri="{FF2B5EF4-FFF2-40B4-BE49-F238E27FC236}">
                    <a16:creationId xmlns:a16="http://schemas.microsoft.com/office/drawing/2014/main" id="{49F6499B-4B28-E14B-9382-1E5B2027B941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Gas Line</a:t>
                </a:r>
              </a:p>
            </p:txBody>
          </p:sp>
          <p:sp>
            <p:nvSpPr>
              <p:cNvPr id="263" name="Rectangle 262">
                <a:extLst>
                  <a:ext uri="{FF2B5EF4-FFF2-40B4-BE49-F238E27FC236}">
                    <a16:creationId xmlns:a16="http://schemas.microsoft.com/office/drawing/2014/main" id="{F9D4F9BF-5068-504B-8EFA-28D4AB8C7B08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Water Line</a:t>
                </a:r>
              </a:p>
            </p:txBody>
          </p:sp>
          <p:sp>
            <p:nvSpPr>
              <p:cNvPr id="264" name="Rectangle 263">
                <a:extLst>
                  <a:ext uri="{FF2B5EF4-FFF2-40B4-BE49-F238E27FC236}">
                    <a16:creationId xmlns:a16="http://schemas.microsoft.com/office/drawing/2014/main" id="{18B6EC83-4309-364C-A8E7-1A917B909D79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unications Line</a:t>
                </a:r>
              </a:p>
            </p:txBody>
          </p:sp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1B2DDF-B645-4E42-A56F-C38BA96ECA6B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ower Line</a:t>
                </a:r>
              </a:p>
            </p:txBody>
          </p: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888D0EC1-E67A-B042-8D76-E3C0B12F9E8F}"/>
                </a:ext>
              </a:extLst>
            </p:cNvPr>
            <p:cNvGrpSpPr/>
            <p:nvPr userDrawn="1"/>
          </p:nvGrpSpPr>
          <p:grpSpPr>
            <a:xfrm>
              <a:off x="6289280" y="4734107"/>
              <a:ext cx="948926" cy="1404191"/>
              <a:chOff x="537897" y="4740637"/>
              <a:chExt cx="948926" cy="1404191"/>
            </a:xfrm>
          </p:grpSpPr>
          <p:grpSp>
            <p:nvGrpSpPr>
              <p:cNvPr id="300" name="Group 299">
                <a:extLst>
                  <a:ext uri="{FF2B5EF4-FFF2-40B4-BE49-F238E27FC236}">
                    <a16:creationId xmlns:a16="http://schemas.microsoft.com/office/drawing/2014/main" id="{93FADB4E-9021-3B41-B3EE-565F06E811BA}"/>
                  </a:ext>
                </a:extLst>
              </p:cNvPr>
              <p:cNvGrpSpPr/>
              <p:nvPr userDrawn="1"/>
            </p:nvGrpSpPr>
            <p:grpSpPr>
              <a:xfrm>
                <a:off x="537897" y="4740637"/>
                <a:ext cx="948926" cy="171684"/>
                <a:chOff x="481617" y="4740637"/>
                <a:chExt cx="948926" cy="171684"/>
              </a:xfrm>
            </p:grpSpPr>
            <p:pic>
              <p:nvPicPr>
                <p:cNvPr id="313" name="Picture Placeholder 10">
                  <a:extLst>
                    <a:ext uri="{FF2B5EF4-FFF2-40B4-BE49-F238E27FC236}">
                      <a16:creationId xmlns:a16="http://schemas.microsoft.com/office/drawing/2014/main" id="{D0645000-4C66-9647-96F6-B6975EC4B89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81617" y="4740637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4" name="Picture Placeholder 10">
                  <a:extLst>
                    <a:ext uri="{FF2B5EF4-FFF2-40B4-BE49-F238E27FC236}">
                      <a16:creationId xmlns:a16="http://schemas.microsoft.com/office/drawing/2014/main" id="{06A13FDF-6C9A-E04A-AA35-E686E8FDD3C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E1619F2C-244F-DF45-8398-756EB2886EBB}"/>
                  </a:ext>
                </a:extLst>
              </p:cNvPr>
              <p:cNvGrpSpPr/>
              <p:nvPr userDrawn="1"/>
            </p:nvGrpSpPr>
            <p:grpSpPr>
              <a:xfrm>
                <a:off x="537897" y="5049778"/>
                <a:ext cx="948926" cy="170670"/>
                <a:chOff x="481617" y="4741651"/>
                <a:chExt cx="948926" cy="170670"/>
              </a:xfrm>
            </p:grpSpPr>
            <p:pic>
              <p:nvPicPr>
                <p:cNvPr id="311" name="Picture Placeholder 10">
                  <a:extLst>
                    <a:ext uri="{FF2B5EF4-FFF2-40B4-BE49-F238E27FC236}">
                      <a16:creationId xmlns:a16="http://schemas.microsoft.com/office/drawing/2014/main" id="{5ABD6797-DEEE-E84B-B84E-FFE5F7B50EB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2" name="Picture Placeholder 10">
                  <a:extLst>
                    <a:ext uri="{FF2B5EF4-FFF2-40B4-BE49-F238E27FC236}">
                      <a16:creationId xmlns:a16="http://schemas.microsoft.com/office/drawing/2014/main" id="{71528691-4DD7-5246-AAB3-E094F2687F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2" name="Group 301">
                <a:extLst>
                  <a:ext uri="{FF2B5EF4-FFF2-40B4-BE49-F238E27FC236}">
                    <a16:creationId xmlns:a16="http://schemas.microsoft.com/office/drawing/2014/main" id="{8C6B318F-A323-9C42-9003-28A02F7D32AB}"/>
                  </a:ext>
                </a:extLst>
              </p:cNvPr>
              <p:cNvGrpSpPr/>
              <p:nvPr userDrawn="1"/>
            </p:nvGrpSpPr>
            <p:grpSpPr>
              <a:xfrm>
                <a:off x="537897" y="5357905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9" name="Picture Placeholder 10">
                  <a:extLst>
                    <a:ext uri="{FF2B5EF4-FFF2-40B4-BE49-F238E27FC236}">
                      <a16:creationId xmlns:a16="http://schemas.microsoft.com/office/drawing/2014/main" id="{2644030B-7E21-844B-A238-CA253810975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0" name="Picture Placeholder 10">
                  <a:extLst>
                    <a:ext uri="{FF2B5EF4-FFF2-40B4-BE49-F238E27FC236}">
                      <a16:creationId xmlns:a16="http://schemas.microsoft.com/office/drawing/2014/main" id="{A4A999F4-DCB6-644E-80BE-A8B024192A3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69C6B87F-2DDB-C544-A29E-72A9B2D6DA49}"/>
                  </a:ext>
                </a:extLst>
              </p:cNvPr>
              <p:cNvGrpSpPr/>
              <p:nvPr userDrawn="1"/>
            </p:nvGrpSpPr>
            <p:grpSpPr>
              <a:xfrm>
                <a:off x="537897" y="5666032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7" name="Picture Placeholder 10">
                  <a:extLst>
                    <a:ext uri="{FF2B5EF4-FFF2-40B4-BE49-F238E27FC236}">
                      <a16:creationId xmlns:a16="http://schemas.microsoft.com/office/drawing/2014/main" id="{7E94987E-4776-8E48-8C02-FD339DDF58D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08" name="Picture Placeholder 10">
                  <a:extLst>
                    <a:ext uri="{FF2B5EF4-FFF2-40B4-BE49-F238E27FC236}">
                      <a16:creationId xmlns:a16="http://schemas.microsoft.com/office/drawing/2014/main" id="{344A7B27-4752-C74E-8E3B-49E9C4E524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4" name="Group 303">
                <a:extLst>
                  <a:ext uri="{FF2B5EF4-FFF2-40B4-BE49-F238E27FC236}">
                    <a16:creationId xmlns:a16="http://schemas.microsoft.com/office/drawing/2014/main" id="{77368174-EF57-2941-9E3E-64594910D762}"/>
                  </a:ext>
                </a:extLst>
              </p:cNvPr>
              <p:cNvGrpSpPr/>
              <p:nvPr userDrawn="1"/>
            </p:nvGrpSpPr>
            <p:grpSpPr>
              <a:xfrm>
                <a:off x="537897" y="5974158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5" name="Picture Placeholder 10">
                  <a:extLst>
                    <a:ext uri="{FF2B5EF4-FFF2-40B4-BE49-F238E27FC236}">
                      <a16:creationId xmlns:a16="http://schemas.microsoft.com/office/drawing/2014/main" id="{0D1F527C-AF74-124E-BE45-7ABDA37B42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06" name="Picture Placeholder 10">
                  <a:extLst>
                    <a:ext uri="{FF2B5EF4-FFF2-40B4-BE49-F238E27FC236}">
                      <a16:creationId xmlns:a16="http://schemas.microsoft.com/office/drawing/2014/main" id="{B67F5A65-A456-0F4C-A2C9-8334B9C4E58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F97FD730-5EC1-6046-9D83-C3E8ED40E646}"/>
              </a:ext>
            </a:extLst>
          </p:cNvPr>
          <p:cNvGrpSpPr/>
          <p:nvPr userDrawn="1"/>
        </p:nvGrpSpPr>
        <p:grpSpPr>
          <a:xfrm>
            <a:off x="531698" y="2088801"/>
            <a:ext cx="2928800" cy="1749736"/>
            <a:chOff x="798374" y="1729047"/>
            <a:chExt cx="2928800" cy="1749736"/>
          </a:xfrm>
        </p:grpSpPr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AEBC528D-1B04-C748-8435-A6C874831AD9}"/>
                </a:ext>
              </a:extLst>
            </p:cNvPr>
            <p:cNvGrpSpPr/>
            <p:nvPr userDrawn="1"/>
          </p:nvGrpSpPr>
          <p:grpSpPr>
            <a:xfrm>
              <a:off x="1508434" y="1729047"/>
              <a:ext cx="2218740" cy="1749736"/>
              <a:chOff x="1589261" y="4701947"/>
              <a:chExt cx="1317896" cy="1749736"/>
            </a:xfrm>
          </p:grpSpPr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259D36A8-096D-494F-83EC-037F5391E998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ercial Airport</a:t>
                </a:r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751587F3-CD84-D240-AD74-3C1EAB1748BE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General Airport</a:t>
                </a:r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A79EBE9-2A7B-B640-AFCA-871E8E55B4AB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unity College</a:t>
                </a:r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0956DAB1-C127-9744-9F47-85062E1A21DE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University</a:t>
                </a:r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0ACD1D53-57DE-584E-A1BD-71E6DE1575E8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nsortium</a:t>
                </a:r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BB525A99-2538-544B-8C81-D1FF4D390341}"/>
                  </a:ext>
                </a:extLst>
              </p:cNvPr>
              <p:cNvSpPr/>
              <p:nvPr userDrawn="1"/>
            </p:nvSpPr>
            <p:spPr>
              <a:xfrm>
                <a:off x="1589261" y="622085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Hospital</a:t>
                </a:r>
              </a:p>
            </p:txBody>
          </p:sp>
        </p:grpSp>
        <p:grpSp>
          <p:nvGrpSpPr>
            <p:cNvPr id="318" name="Group 317">
              <a:extLst>
                <a:ext uri="{FF2B5EF4-FFF2-40B4-BE49-F238E27FC236}">
                  <a16:creationId xmlns:a16="http://schemas.microsoft.com/office/drawing/2014/main" id="{2BBB913E-AADD-734F-A9DE-802565838590}"/>
                </a:ext>
              </a:extLst>
            </p:cNvPr>
            <p:cNvGrpSpPr/>
            <p:nvPr userDrawn="1"/>
          </p:nvGrpSpPr>
          <p:grpSpPr>
            <a:xfrm>
              <a:off x="798374" y="1744270"/>
              <a:ext cx="200387" cy="1719291"/>
              <a:chOff x="559451" y="4717170"/>
              <a:chExt cx="200387" cy="1719291"/>
            </a:xfrm>
          </p:grpSpPr>
          <p:pic>
            <p:nvPicPr>
              <p:cNvPr id="326" name="Picture Placeholder 10">
                <a:extLst>
                  <a:ext uri="{FF2B5EF4-FFF2-40B4-BE49-F238E27FC236}">
                    <a16:creationId xmlns:a16="http://schemas.microsoft.com/office/drawing/2014/main" id="{C7C93AC9-CF5D-5D4A-830F-63BC9A2BE02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559451" y="4717170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7" name="Picture Placeholder 10">
                <a:extLst>
                  <a:ext uri="{FF2B5EF4-FFF2-40B4-BE49-F238E27FC236}">
                    <a16:creationId xmlns:a16="http://schemas.microsoft.com/office/drawing/2014/main" id="{42058270-4147-A646-8043-DB0B5B54F16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559451" y="5020951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8" name="Picture Placeholder 10">
                <a:extLst>
                  <a:ext uri="{FF2B5EF4-FFF2-40B4-BE49-F238E27FC236}">
                    <a16:creationId xmlns:a16="http://schemas.microsoft.com/office/drawing/2014/main" id="{8BBD3BD2-76AF-9440-AAD3-2E4B851F022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4"/>
              <a:stretch>
                <a:fillRect/>
              </a:stretch>
            </p:blipFill>
            <p:spPr>
              <a:xfrm>
                <a:off x="559451" y="5324732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9" name="Picture Placeholder 10">
                <a:extLst>
                  <a:ext uri="{FF2B5EF4-FFF2-40B4-BE49-F238E27FC236}">
                    <a16:creationId xmlns:a16="http://schemas.microsoft.com/office/drawing/2014/main" id="{60FF011D-2F09-594E-9850-B33242E69D3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559451" y="5628513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0" name="Picture Placeholder 10">
                <a:extLst>
                  <a:ext uri="{FF2B5EF4-FFF2-40B4-BE49-F238E27FC236}">
                    <a16:creationId xmlns:a16="http://schemas.microsoft.com/office/drawing/2014/main" id="{B89D4B5B-6BD4-D943-98F7-412EED4CAD6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559451" y="593229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1" name="Picture Placeholder 10">
                <a:extLst>
                  <a:ext uri="{FF2B5EF4-FFF2-40B4-BE49-F238E27FC236}">
                    <a16:creationId xmlns:a16="http://schemas.microsoft.com/office/drawing/2014/main" id="{2DCCA9DB-55BC-1840-9070-6570AD5A593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559451" y="623607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FB8FD4AE-C9FB-1842-973A-31BA630B601E}"/>
                </a:ext>
              </a:extLst>
            </p:cNvPr>
            <p:cNvGrpSpPr/>
            <p:nvPr userDrawn="1"/>
          </p:nvGrpSpPr>
          <p:grpSpPr>
            <a:xfrm>
              <a:off x="1126382" y="1744270"/>
              <a:ext cx="200387" cy="1719291"/>
              <a:chOff x="914311" y="4717170"/>
              <a:chExt cx="200387" cy="1719291"/>
            </a:xfrm>
          </p:grpSpPr>
          <p:pic>
            <p:nvPicPr>
              <p:cNvPr id="320" name="Picture Placeholder 10">
                <a:extLst>
                  <a:ext uri="{FF2B5EF4-FFF2-40B4-BE49-F238E27FC236}">
                    <a16:creationId xmlns:a16="http://schemas.microsoft.com/office/drawing/2014/main" id="{D2C5519B-C5AC-D94A-9468-63526C4B71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914311" y="4717170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1" name="Picture Placeholder 10">
                <a:extLst>
                  <a:ext uri="{FF2B5EF4-FFF2-40B4-BE49-F238E27FC236}">
                    <a16:creationId xmlns:a16="http://schemas.microsoft.com/office/drawing/2014/main" id="{F304DA68-D442-0345-B363-24053C304AB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9"/>
              <a:stretch>
                <a:fillRect/>
              </a:stretch>
            </p:blipFill>
            <p:spPr>
              <a:xfrm>
                <a:off x="914311" y="5020951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2" name="Picture Placeholder 10">
                <a:extLst>
                  <a:ext uri="{FF2B5EF4-FFF2-40B4-BE49-F238E27FC236}">
                    <a16:creationId xmlns:a16="http://schemas.microsoft.com/office/drawing/2014/main" id="{8EF9F7F4-0962-1D4A-8EF5-727251FF576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0"/>
              <a:stretch>
                <a:fillRect/>
              </a:stretch>
            </p:blipFill>
            <p:spPr>
              <a:xfrm>
                <a:off x="914311" y="5324732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3" name="Picture Placeholder 10">
                <a:extLst>
                  <a:ext uri="{FF2B5EF4-FFF2-40B4-BE49-F238E27FC236}">
                    <a16:creationId xmlns:a16="http://schemas.microsoft.com/office/drawing/2014/main" id="{885D89C6-9809-FD45-B08F-A27944C0605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1"/>
              <a:stretch>
                <a:fillRect/>
              </a:stretch>
            </p:blipFill>
            <p:spPr>
              <a:xfrm>
                <a:off x="914311" y="5628513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4" name="Picture Placeholder 10">
                <a:extLst>
                  <a:ext uri="{FF2B5EF4-FFF2-40B4-BE49-F238E27FC236}">
                    <a16:creationId xmlns:a16="http://schemas.microsoft.com/office/drawing/2014/main" id="{D89BCADF-61F5-0D48-90EB-26F0E4FBB34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2"/>
              <a:stretch>
                <a:fillRect/>
              </a:stretch>
            </p:blipFill>
            <p:spPr>
              <a:xfrm>
                <a:off x="914311" y="593229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5" name="Picture Placeholder 10">
                <a:extLst>
                  <a:ext uri="{FF2B5EF4-FFF2-40B4-BE49-F238E27FC236}">
                    <a16:creationId xmlns:a16="http://schemas.microsoft.com/office/drawing/2014/main" id="{29760AB0-B798-6A4D-AC8A-A768DBF6DF0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3"/>
              <a:stretch>
                <a:fillRect/>
              </a:stretch>
            </p:blipFill>
            <p:spPr>
              <a:xfrm>
                <a:off x="914311" y="623607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E4036471-9127-DC4D-894B-B9CE3D3429BD}"/>
              </a:ext>
            </a:extLst>
          </p:cNvPr>
          <p:cNvGrpSpPr/>
          <p:nvPr userDrawn="1"/>
        </p:nvGrpSpPr>
        <p:grpSpPr>
          <a:xfrm>
            <a:off x="3385615" y="2088801"/>
            <a:ext cx="2928800" cy="1749736"/>
            <a:chOff x="3361575" y="1701615"/>
            <a:chExt cx="2928800" cy="1749736"/>
          </a:xfrm>
        </p:grpSpPr>
        <p:pic>
          <p:nvPicPr>
            <p:cNvPr id="407" name="Picture Placeholder 10">
              <a:extLst>
                <a:ext uri="{FF2B5EF4-FFF2-40B4-BE49-F238E27FC236}">
                  <a16:creationId xmlns:a16="http://schemas.microsoft.com/office/drawing/2014/main" id="{6E26E336-804D-2042-AC3C-1BEFC85438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3422574" y="3302123"/>
              <a:ext cx="85344" cy="85344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14B0FEF1-3B94-BA44-8498-C64DCDD8DCB8}"/>
                </a:ext>
              </a:extLst>
            </p:cNvPr>
            <p:cNvGrpSpPr/>
            <p:nvPr userDrawn="1"/>
          </p:nvGrpSpPr>
          <p:grpSpPr>
            <a:xfrm>
              <a:off x="3361575" y="1701615"/>
              <a:ext cx="2928800" cy="1749736"/>
              <a:chOff x="798374" y="1729047"/>
              <a:chExt cx="2928800" cy="1749736"/>
            </a:xfrm>
          </p:grpSpPr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AFE8036B-3A19-9442-901A-1B323E4FB8D8}"/>
                  </a:ext>
                </a:extLst>
              </p:cNvPr>
              <p:cNvGrpSpPr/>
              <p:nvPr userDrawn="1"/>
            </p:nvGrpSpPr>
            <p:grpSpPr>
              <a:xfrm>
                <a:off x="1508434" y="1729047"/>
                <a:ext cx="2218740" cy="1749736"/>
                <a:chOff x="1589261" y="4701947"/>
                <a:chExt cx="1317896" cy="1749736"/>
              </a:xfrm>
            </p:grpSpPr>
            <p:sp>
              <p:nvSpPr>
                <p:cNvPr id="378" name="Rectangle 377">
                  <a:extLst>
                    <a:ext uri="{FF2B5EF4-FFF2-40B4-BE49-F238E27FC236}">
                      <a16:creationId xmlns:a16="http://schemas.microsoft.com/office/drawing/2014/main" id="{CB2FE2C0-4DDF-B24D-93B8-BBCE095A4E9B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rt</a:t>
                  </a:r>
                </a:p>
              </p:txBody>
            </p:sp>
            <p:sp>
              <p:nvSpPr>
                <p:cNvPr id="379" name="Rectangle 378">
                  <a:extLst>
                    <a:ext uri="{FF2B5EF4-FFF2-40B4-BE49-F238E27FC236}">
                      <a16:creationId xmlns:a16="http://schemas.microsoft.com/office/drawing/2014/main" id="{5A703A29-F42D-9A45-BC00-36404057EFB0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rt of Virginia</a:t>
                  </a:r>
                </a:p>
              </p:txBody>
            </p:sp>
            <p:sp>
              <p:nvSpPr>
                <p:cNvPr id="380" name="Rectangle 379">
                  <a:extLst>
                    <a:ext uri="{FF2B5EF4-FFF2-40B4-BE49-F238E27FC236}">
                      <a16:creationId xmlns:a16="http://schemas.microsoft.com/office/drawing/2014/main" id="{E38126C9-F2F6-9F40-96BF-D66A03FEC2F5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Rail Station</a:t>
                  </a:r>
                </a:p>
              </p:txBody>
            </p:sp>
            <p:sp>
              <p:nvSpPr>
                <p:cNvPr id="381" name="Rectangle 380">
                  <a:extLst>
                    <a:ext uri="{FF2B5EF4-FFF2-40B4-BE49-F238E27FC236}">
                      <a16:creationId xmlns:a16="http://schemas.microsoft.com/office/drawing/2014/main" id="{DA891025-C18E-AB42-91B5-CFB7A0096C2A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us Stop</a:t>
                  </a:r>
                </a:p>
              </p:txBody>
            </p:sp>
            <p:sp>
              <p:nvSpPr>
                <p:cNvPr id="382" name="Rectangle 381">
                  <a:extLst>
                    <a:ext uri="{FF2B5EF4-FFF2-40B4-BE49-F238E27FC236}">
                      <a16:creationId xmlns:a16="http://schemas.microsoft.com/office/drawing/2014/main" id="{82FE33DC-7A39-C84A-AFAC-4407A32AC68F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City</a:t>
                  </a:r>
                </a:p>
              </p:txBody>
            </p:sp>
            <p:sp>
              <p:nvSpPr>
                <p:cNvPr id="383" name="Rectangle 382">
                  <a:extLst>
                    <a:ext uri="{FF2B5EF4-FFF2-40B4-BE49-F238E27FC236}">
                      <a16:creationId xmlns:a16="http://schemas.microsoft.com/office/drawing/2014/main" id="{A7871954-FA7B-5443-BEC0-05C602F83015}"/>
                    </a:ext>
                  </a:extLst>
                </p:cNvPr>
                <p:cNvSpPr/>
                <p:nvPr userDrawn="1"/>
              </p:nvSpPr>
              <p:spPr>
                <a:xfrm>
                  <a:off x="1589261" y="622085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De-emphasized City</a:t>
                  </a:r>
                </a:p>
              </p:txBody>
            </p:sp>
          </p:grpSp>
          <p:grpSp>
            <p:nvGrpSpPr>
              <p:cNvPr id="364" name="Group 363">
                <a:extLst>
                  <a:ext uri="{FF2B5EF4-FFF2-40B4-BE49-F238E27FC236}">
                    <a16:creationId xmlns:a16="http://schemas.microsoft.com/office/drawing/2014/main" id="{D67DBC48-E7C5-0D48-BF84-6A37BBAE2A66}"/>
                  </a:ext>
                </a:extLst>
              </p:cNvPr>
              <p:cNvGrpSpPr/>
              <p:nvPr userDrawn="1"/>
            </p:nvGrpSpPr>
            <p:grpSpPr>
              <a:xfrm>
                <a:off x="798374" y="1744270"/>
                <a:ext cx="200387" cy="1394298"/>
                <a:chOff x="559451" y="4717170"/>
                <a:chExt cx="200387" cy="1394298"/>
              </a:xfrm>
            </p:grpSpPr>
            <p:pic>
              <p:nvPicPr>
                <p:cNvPr id="372" name="Picture Placeholder 10">
                  <a:extLst>
                    <a:ext uri="{FF2B5EF4-FFF2-40B4-BE49-F238E27FC236}">
                      <a16:creationId xmlns:a16="http://schemas.microsoft.com/office/drawing/2014/main" id="{D9E23257-8DB6-3144-85FD-6034449DC68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55945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3" name="Picture Placeholder 10">
                  <a:extLst>
                    <a:ext uri="{FF2B5EF4-FFF2-40B4-BE49-F238E27FC236}">
                      <a16:creationId xmlns:a16="http://schemas.microsoft.com/office/drawing/2014/main" id="{03805D22-11F3-A645-8E1B-760D82BC5E4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55945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4" name="Picture Placeholder 10">
                  <a:extLst>
                    <a:ext uri="{FF2B5EF4-FFF2-40B4-BE49-F238E27FC236}">
                      <a16:creationId xmlns:a16="http://schemas.microsoft.com/office/drawing/2014/main" id="{17722329-E81B-3740-A3B2-41DC385B625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5945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5" name="Picture Placeholder 10">
                  <a:extLst>
                    <a:ext uri="{FF2B5EF4-FFF2-40B4-BE49-F238E27FC236}">
                      <a16:creationId xmlns:a16="http://schemas.microsoft.com/office/drawing/2014/main" id="{96D89431-7689-2C45-9B54-2E40137CAC0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55945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6" name="Picture Placeholder 10">
                  <a:extLst>
                    <a:ext uri="{FF2B5EF4-FFF2-40B4-BE49-F238E27FC236}">
                      <a16:creationId xmlns:a16="http://schemas.microsoft.com/office/drawing/2014/main" id="{820CD000-A733-5747-9D0B-5AF08EB1DFD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97484" y="5989689"/>
                  <a:ext cx="121779" cy="121779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65" name="Group 364">
                <a:extLst>
                  <a:ext uri="{FF2B5EF4-FFF2-40B4-BE49-F238E27FC236}">
                    <a16:creationId xmlns:a16="http://schemas.microsoft.com/office/drawing/2014/main" id="{F5E37184-CC02-2740-9870-8DD78972C78A}"/>
                  </a:ext>
                </a:extLst>
              </p:cNvPr>
              <p:cNvGrpSpPr/>
              <p:nvPr userDrawn="1"/>
            </p:nvGrpSpPr>
            <p:grpSpPr>
              <a:xfrm>
                <a:off x="1126382" y="1744270"/>
                <a:ext cx="200387" cy="1111730"/>
                <a:chOff x="914311" y="4717170"/>
                <a:chExt cx="200387" cy="1111730"/>
              </a:xfrm>
            </p:grpSpPr>
            <p:pic>
              <p:nvPicPr>
                <p:cNvPr id="366" name="Picture Placeholder 10">
                  <a:extLst>
                    <a:ext uri="{FF2B5EF4-FFF2-40B4-BE49-F238E27FC236}">
                      <a16:creationId xmlns:a16="http://schemas.microsoft.com/office/drawing/2014/main" id="{1E0657A4-CD1F-2B4A-8A38-0790449205F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91431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7" name="Picture Placeholder 10">
                  <a:extLst>
                    <a:ext uri="{FF2B5EF4-FFF2-40B4-BE49-F238E27FC236}">
                      <a16:creationId xmlns:a16="http://schemas.microsoft.com/office/drawing/2014/main" id="{78877AF6-B614-6044-8AF5-E15C42BDC71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1431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8" name="Picture Placeholder 10">
                  <a:extLst>
                    <a:ext uri="{FF2B5EF4-FFF2-40B4-BE49-F238E27FC236}">
                      <a16:creationId xmlns:a16="http://schemas.microsoft.com/office/drawing/2014/main" id="{A3DA4A3D-EAD9-CF43-B6C3-4D791C008E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91431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9" name="Picture Placeholder 10">
                  <a:extLst>
                    <a:ext uri="{FF2B5EF4-FFF2-40B4-BE49-F238E27FC236}">
                      <a16:creationId xmlns:a16="http://schemas.microsoft.com/office/drawing/2014/main" id="{EFAAE529-8F97-2449-8C8E-859FFFD4601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1431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pic>
          <p:nvPicPr>
            <p:cNvPr id="406" name="Picture Placeholder 10">
              <a:extLst>
                <a:ext uri="{FF2B5EF4-FFF2-40B4-BE49-F238E27FC236}">
                  <a16:creationId xmlns:a16="http://schemas.microsoft.com/office/drawing/2014/main" id="{BF87C17C-AA57-2648-99DB-68DC7C3850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4"/>
            <a:stretch>
              <a:fillRect/>
            </a:stretch>
          </p:blipFill>
          <p:spPr>
            <a:xfrm>
              <a:off x="3728886" y="2989357"/>
              <a:ext cx="121779" cy="12177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8" name="Picture Placeholder 10">
              <a:extLst>
                <a:ext uri="{FF2B5EF4-FFF2-40B4-BE49-F238E27FC236}">
                  <a16:creationId xmlns:a16="http://schemas.microsoft.com/office/drawing/2014/main" id="{13114133-8B59-FC4A-887E-B377FB0C3F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5"/>
            <a:stretch>
              <a:fillRect/>
            </a:stretch>
          </p:blipFill>
          <p:spPr>
            <a:xfrm>
              <a:off x="3747104" y="3296197"/>
              <a:ext cx="85344" cy="85344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B24FABB9-27F1-7B4A-A388-DD5076EBD99D}"/>
              </a:ext>
            </a:extLst>
          </p:cNvPr>
          <p:cNvGrpSpPr/>
          <p:nvPr userDrawn="1"/>
        </p:nvGrpSpPr>
        <p:grpSpPr>
          <a:xfrm>
            <a:off x="6239532" y="2088801"/>
            <a:ext cx="2959199" cy="1749736"/>
            <a:chOff x="6239532" y="1701615"/>
            <a:chExt cx="2959199" cy="1749736"/>
          </a:xfrm>
        </p:grpSpPr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8E3AF3C3-90C4-924D-9E7B-C69B43633AB1}"/>
                </a:ext>
              </a:extLst>
            </p:cNvPr>
            <p:cNvGrpSpPr/>
            <p:nvPr userDrawn="1"/>
          </p:nvGrpSpPr>
          <p:grpSpPr>
            <a:xfrm>
              <a:off x="6239532" y="1701615"/>
              <a:ext cx="2959199" cy="1749736"/>
              <a:chOff x="767975" y="1729047"/>
              <a:chExt cx="2959199" cy="1749736"/>
            </a:xfrm>
          </p:grpSpPr>
          <p:grpSp>
            <p:nvGrpSpPr>
              <p:cNvPr id="385" name="Group 384">
                <a:extLst>
                  <a:ext uri="{FF2B5EF4-FFF2-40B4-BE49-F238E27FC236}">
                    <a16:creationId xmlns:a16="http://schemas.microsoft.com/office/drawing/2014/main" id="{ADF01D4D-6810-1347-A874-41437CEB7C94}"/>
                  </a:ext>
                </a:extLst>
              </p:cNvPr>
              <p:cNvGrpSpPr/>
              <p:nvPr userDrawn="1"/>
            </p:nvGrpSpPr>
            <p:grpSpPr>
              <a:xfrm>
                <a:off x="1508434" y="1729047"/>
                <a:ext cx="2218740" cy="1749736"/>
                <a:chOff x="1589261" y="4701947"/>
                <a:chExt cx="1317896" cy="1749736"/>
              </a:xfrm>
            </p:grpSpPr>
            <p:sp>
              <p:nvSpPr>
                <p:cNvPr id="400" name="Rectangle 399">
                  <a:extLst>
                    <a:ext uri="{FF2B5EF4-FFF2-40B4-BE49-F238E27FC236}">
                      <a16:creationId xmlns:a16="http://schemas.microsoft.com/office/drawing/2014/main" id="{1D775F83-9CDB-2341-8935-44AD2DAF0645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int of Interest</a:t>
                  </a:r>
                </a:p>
              </p:txBody>
            </p:sp>
            <p:sp>
              <p:nvSpPr>
                <p:cNvPr id="401" name="Rectangle 400">
                  <a:extLst>
                    <a:ext uri="{FF2B5EF4-FFF2-40B4-BE49-F238E27FC236}">
                      <a16:creationId xmlns:a16="http://schemas.microsoft.com/office/drawing/2014/main" id="{C8173769-0409-D940-A6A7-10EF1A3CF4AF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Gas Main</a:t>
                  </a:r>
                </a:p>
              </p:txBody>
            </p:sp>
            <p:sp>
              <p:nvSpPr>
                <p:cNvPr id="402" name="Rectangle 401">
                  <a:extLst>
                    <a:ext uri="{FF2B5EF4-FFF2-40B4-BE49-F238E27FC236}">
                      <a16:creationId xmlns:a16="http://schemas.microsoft.com/office/drawing/2014/main" id="{68B7D029-CA99-5946-8BA3-0508B1885D4E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Water Main</a:t>
                  </a:r>
                </a:p>
              </p:txBody>
            </p:sp>
            <p:sp>
              <p:nvSpPr>
                <p:cNvPr id="403" name="Rectangle 402">
                  <a:extLst>
                    <a:ext uri="{FF2B5EF4-FFF2-40B4-BE49-F238E27FC236}">
                      <a16:creationId xmlns:a16="http://schemas.microsoft.com/office/drawing/2014/main" id="{F8DDD0B8-2539-9246-934F-3CB6969A37C5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Sewer Main</a:t>
                  </a:r>
                </a:p>
              </p:txBody>
            </p:sp>
            <p:sp>
              <p:nvSpPr>
                <p:cNvPr id="404" name="Rectangle 403">
                  <a:extLst>
                    <a:ext uri="{FF2B5EF4-FFF2-40B4-BE49-F238E27FC236}">
                      <a16:creationId xmlns:a16="http://schemas.microsoft.com/office/drawing/2014/main" id="{B1A5ABF7-9E07-824E-BE7B-4B1FAF234EA7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Metro Stop</a:t>
                  </a:r>
                </a:p>
              </p:txBody>
            </p:sp>
            <p:sp>
              <p:nvSpPr>
                <p:cNvPr id="405" name="Rectangle 404">
                  <a:extLst>
                    <a:ext uri="{FF2B5EF4-FFF2-40B4-BE49-F238E27FC236}">
                      <a16:creationId xmlns:a16="http://schemas.microsoft.com/office/drawing/2014/main" id="{B1DF8583-9A4D-674A-BB65-9969C4D63C00}"/>
                    </a:ext>
                  </a:extLst>
                </p:cNvPr>
                <p:cNvSpPr/>
                <p:nvPr userDrawn="1"/>
              </p:nvSpPr>
              <p:spPr>
                <a:xfrm>
                  <a:off x="1589261" y="622085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VRE Stop</a:t>
                  </a:r>
                </a:p>
              </p:txBody>
            </p:sp>
          </p:grpSp>
          <p:grpSp>
            <p:nvGrpSpPr>
              <p:cNvPr id="386" name="Group 385">
                <a:extLst>
                  <a:ext uri="{FF2B5EF4-FFF2-40B4-BE49-F238E27FC236}">
                    <a16:creationId xmlns:a16="http://schemas.microsoft.com/office/drawing/2014/main" id="{41F54B3F-40D8-5C4D-9121-781A862DE6D4}"/>
                  </a:ext>
                </a:extLst>
              </p:cNvPr>
              <p:cNvGrpSpPr/>
              <p:nvPr userDrawn="1"/>
            </p:nvGrpSpPr>
            <p:grpSpPr>
              <a:xfrm>
                <a:off x="767975" y="1744270"/>
                <a:ext cx="260504" cy="1709644"/>
                <a:chOff x="529052" y="4717170"/>
                <a:chExt cx="260504" cy="1709644"/>
              </a:xfrm>
            </p:grpSpPr>
            <p:pic>
              <p:nvPicPr>
                <p:cNvPr id="394" name="Picture Placeholder 10">
                  <a:extLst>
                    <a:ext uri="{FF2B5EF4-FFF2-40B4-BE49-F238E27FC236}">
                      <a16:creationId xmlns:a16="http://schemas.microsoft.com/office/drawing/2014/main" id="{BCD3D741-6BED-4942-8589-D9E14EF8B70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55945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5" name="Picture Placeholder 10">
                  <a:extLst>
                    <a:ext uri="{FF2B5EF4-FFF2-40B4-BE49-F238E27FC236}">
                      <a16:creationId xmlns:a16="http://schemas.microsoft.com/office/drawing/2014/main" id="{9EA5A381-08CC-3746-8F87-9993A62C4EC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55945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6" name="Picture Placeholder 10">
                  <a:extLst>
                    <a:ext uri="{FF2B5EF4-FFF2-40B4-BE49-F238E27FC236}">
                      <a16:creationId xmlns:a16="http://schemas.microsoft.com/office/drawing/2014/main" id="{CF6FF145-57DB-1847-B24C-1BC5377A28F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55945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7" name="Picture Placeholder 10">
                  <a:extLst>
                    <a:ext uri="{FF2B5EF4-FFF2-40B4-BE49-F238E27FC236}">
                      <a16:creationId xmlns:a16="http://schemas.microsoft.com/office/drawing/2014/main" id="{3FEB3EA2-CD4A-2044-98AE-EF1B8922CCC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55945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8" name="Picture Placeholder 10">
                  <a:extLst>
                    <a:ext uri="{FF2B5EF4-FFF2-40B4-BE49-F238E27FC236}">
                      <a16:creationId xmlns:a16="http://schemas.microsoft.com/office/drawing/2014/main" id="{CA229116-A8B9-6747-8363-137CAAE1024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559451" y="5932294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9" name="Picture Placeholder 10">
                  <a:extLst>
                    <a:ext uri="{FF2B5EF4-FFF2-40B4-BE49-F238E27FC236}">
                      <a16:creationId xmlns:a16="http://schemas.microsoft.com/office/drawing/2014/main" id="{9FEB0E64-1913-B340-9552-80D5BDFE0B1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29052" y="6264000"/>
                  <a:ext cx="260504" cy="162814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87" name="Group 386">
                <a:extLst>
                  <a:ext uri="{FF2B5EF4-FFF2-40B4-BE49-F238E27FC236}">
                    <a16:creationId xmlns:a16="http://schemas.microsoft.com/office/drawing/2014/main" id="{CEDA0339-905F-D54F-BEAB-DBCE8B6944D9}"/>
                  </a:ext>
                </a:extLst>
              </p:cNvPr>
              <p:cNvGrpSpPr/>
              <p:nvPr userDrawn="1"/>
            </p:nvGrpSpPr>
            <p:grpSpPr>
              <a:xfrm>
                <a:off x="1126382" y="1744270"/>
                <a:ext cx="200387" cy="1415511"/>
                <a:chOff x="914311" y="4717170"/>
                <a:chExt cx="200387" cy="1415511"/>
              </a:xfrm>
            </p:grpSpPr>
            <p:pic>
              <p:nvPicPr>
                <p:cNvPr id="388" name="Picture Placeholder 10">
                  <a:extLst>
                    <a:ext uri="{FF2B5EF4-FFF2-40B4-BE49-F238E27FC236}">
                      <a16:creationId xmlns:a16="http://schemas.microsoft.com/office/drawing/2014/main" id="{16CF4A44-FD22-0741-923A-6132D075223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1431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9" name="Picture Placeholder 10">
                  <a:extLst>
                    <a:ext uri="{FF2B5EF4-FFF2-40B4-BE49-F238E27FC236}">
                      <a16:creationId xmlns:a16="http://schemas.microsoft.com/office/drawing/2014/main" id="{FB7B7E4B-D88B-7F44-93D1-7A37194E87C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1431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0" name="Picture Placeholder 10">
                  <a:extLst>
                    <a:ext uri="{FF2B5EF4-FFF2-40B4-BE49-F238E27FC236}">
                      <a16:creationId xmlns:a16="http://schemas.microsoft.com/office/drawing/2014/main" id="{4C5FDC8B-8E81-C045-9A14-78BD469854D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91431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1" name="Picture Placeholder 10">
                  <a:extLst>
                    <a:ext uri="{FF2B5EF4-FFF2-40B4-BE49-F238E27FC236}">
                      <a16:creationId xmlns:a16="http://schemas.microsoft.com/office/drawing/2014/main" id="{935AE4B5-6C12-7343-B242-672D0DBCC32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1431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2" name="Picture Placeholder 10">
                  <a:extLst>
                    <a:ext uri="{FF2B5EF4-FFF2-40B4-BE49-F238E27FC236}">
                      <a16:creationId xmlns:a16="http://schemas.microsoft.com/office/drawing/2014/main" id="{6DA9BEBC-23C3-2944-B5B1-91878FD8F80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914311" y="5932294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pic>
          <p:nvPicPr>
            <p:cNvPr id="409" name="Picture Placeholder 10">
              <a:extLst>
                <a:ext uri="{FF2B5EF4-FFF2-40B4-BE49-F238E27FC236}">
                  <a16:creationId xmlns:a16="http://schemas.microsoft.com/office/drawing/2014/main" id="{914BB8FD-08EF-1844-86A9-7244F79968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7"/>
            <a:stretch>
              <a:fillRect/>
            </a:stretch>
          </p:blipFill>
          <p:spPr>
            <a:xfrm>
              <a:off x="6573420" y="3256651"/>
              <a:ext cx="260504" cy="158567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71B96224-1448-D046-A891-4DA1D0664605}"/>
              </a:ext>
            </a:extLst>
          </p:cNvPr>
          <p:cNvGrpSpPr/>
          <p:nvPr userDrawn="1"/>
        </p:nvGrpSpPr>
        <p:grpSpPr>
          <a:xfrm>
            <a:off x="3414549" y="4820319"/>
            <a:ext cx="3163990" cy="1445956"/>
            <a:chOff x="3360750" y="4820319"/>
            <a:chExt cx="3163990" cy="1445956"/>
          </a:xfrm>
        </p:grpSpPr>
        <p:grpSp>
          <p:nvGrpSpPr>
            <p:cNvPr id="413" name="Group 412">
              <a:extLst>
                <a:ext uri="{FF2B5EF4-FFF2-40B4-BE49-F238E27FC236}">
                  <a16:creationId xmlns:a16="http://schemas.microsoft.com/office/drawing/2014/main" id="{5351A100-664A-484E-97AA-C467ADE534D3}"/>
                </a:ext>
              </a:extLst>
            </p:cNvPr>
            <p:cNvGrpSpPr/>
            <p:nvPr userDrawn="1"/>
          </p:nvGrpSpPr>
          <p:grpSpPr>
            <a:xfrm>
              <a:off x="3360750" y="4820319"/>
              <a:ext cx="3163990" cy="1445956"/>
              <a:chOff x="3360750" y="4713225"/>
              <a:chExt cx="3163990" cy="1445956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C266A20-90D4-4246-A069-AEDFB3BF18F4}"/>
                  </a:ext>
                </a:extLst>
              </p:cNvPr>
              <p:cNvGrpSpPr/>
              <p:nvPr userDrawn="1"/>
            </p:nvGrpSpPr>
            <p:grpSpPr>
              <a:xfrm>
                <a:off x="4306000" y="4713225"/>
                <a:ext cx="2218740" cy="1445956"/>
                <a:chOff x="1589261" y="4701947"/>
                <a:chExt cx="1317896" cy="1445956"/>
              </a:xfrm>
            </p:grpSpPr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7CD86D2C-A654-CB45-9FC2-8C711C6062F7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us Line</a:t>
                  </a:r>
                </a:p>
              </p:txBody>
            </p:sp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7900609-7EC4-074F-8E20-33CCEADB377A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VRE Line</a:t>
                  </a:r>
                </a:p>
              </p:txBody>
            </p:sp>
            <p:sp>
              <p:nvSpPr>
                <p:cNvPr id="206" name="Rectangle 205">
                  <a:extLst>
                    <a:ext uri="{FF2B5EF4-FFF2-40B4-BE49-F238E27FC236}">
                      <a16:creationId xmlns:a16="http://schemas.microsoft.com/office/drawing/2014/main" id="{DB01D66F-869C-904A-AA22-686A66A2CF52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Metro Line</a:t>
                  </a:r>
                </a:p>
              </p:txBody>
            </p:sp>
            <p:sp>
              <p:nvSpPr>
                <p:cNvPr id="202" name="Rectangle 201">
                  <a:extLst>
                    <a:ext uri="{FF2B5EF4-FFF2-40B4-BE49-F238E27FC236}">
                      <a16:creationId xmlns:a16="http://schemas.microsoft.com/office/drawing/2014/main" id="{FCDE02D0-F27D-4D47-8541-17EE75BCF206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ike Path</a:t>
                  </a: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2DB80C2E-2001-0C48-9BE9-E279027C6108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Foot Path</a:t>
                  </a:r>
                </a:p>
              </p:txBody>
            </p:sp>
          </p:grpSp>
          <p:grpSp>
            <p:nvGrpSpPr>
              <p:cNvPr id="283" name="Group 282">
                <a:extLst>
                  <a:ext uri="{FF2B5EF4-FFF2-40B4-BE49-F238E27FC236}">
                    <a16:creationId xmlns:a16="http://schemas.microsoft.com/office/drawing/2014/main" id="{C6E6AACD-ECFA-774A-88B8-33D487E2167C}"/>
                  </a:ext>
                </a:extLst>
              </p:cNvPr>
              <p:cNvGrpSpPr/>
              <p:nvPr userDrawn="1"/>
            </p:nvGrpSpPr>
            <p:grpSpPr>
              <a:xfrm>
                <a:off x="3360750" y="4736545"/>
                <a:ext cx="948926" cy="1404339"/>
                <a:chOff x="537897" y="4743075"/>
                <a:chExt cx="948926" cy="1404339"/>
              </a:xfrm>
            </p:grpSpPr>
            <p:grpSp>
              <p:nvGrpSpPr>
                <p:cNvPr id="284" name="Group 283">
                  <a:extLst>
                    <a:ext uri="{FF2B5EF4-FFF2-40B4-BE49-F238E27FC236}">
                      <a16:creationId xmlns:a16="http://schemas.microsoft.com/office/drawing/2014/main" id="{73B06920-1B55-EE48-A350-CADF0753B60B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4743075"/>
                  <a:ext cx="948926" cy="166808"/>
                  <a:chOff x="481617" y="4743075"/>
                  <a:chExt cx="948926" cy="166808"/>
                </a:xfrm>
              </p:grpSpPr>
              <p:pic>
                <p:nvPicPr>
                  <p:cNvPr id="297" name="Picture Placeholder 10">
                    <a:extLst>
                      <a:ext uri="{FF2B5EF4-FFF2-40B4-BE49-F238E27FC236}">
                        <a16:creationId xmlns:a16="http://schemas.microsoft.com/office/drawing/2014/main" id="{DA89EE01-6BDB-0B4C-9E16-BA4CDBA5EF0F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58"/>
                  <a:stretch>
                    <a:fillRect/>
                  </a:stretch>
                </p:blipFill>
                <p:spPr>
                  <a:xfrm>
                    <a:off x="481617" y="4743075"/>
                    <a:ext cx="414485" cy="165794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8" name="Picture Placeholder 10">
                    <a:extLst>
                      <a:ext uri="{FF2B5EF4-FFF2-40B4-BE49-F238E27FC236}">
                        <a16:creationId xmlns:a16="http://schemas.microsoft.com/office/drawing/2014/main" id="{A4BD4E68-91DC-7A43-8943-3235F2BD1DCE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1016058" y="4744089"/>
                    <a:ext cx="414485" cy="165794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pic>
              <p:nvPicPr>
                <p:cNvPr id="295" name="Picture Placeholder 10">
                  <a:extLst>
                    <a:ext uri="{FF2B5EF4-FFF2-40B4-BE49-F238E27FC236}">
                      <a16:creationId xmlns:a16="http://schemas.microsoft.com/office/drawing/2014/main" id="{208AE4AC-BFF1-DD47-BF4D-8323D94EC7F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537897" y="5068966"/>
                  <a:ext cx="414485" cy="130266"/>
                </a:xfrm>
                <a:prstGeom prst="rect">
                  <a:avLst/>
                </a:prstGeom>
                <a:ln>
                  <a:noFill/>
                </a:ln>
              </p:spPr>
            </p:pic>
            <p:grpSp>
              <p:nvGrpSpPr>
                <p:cNvPr id="286" name="Group 285">
                  <a:extLst>
                    <a:ext uri="{FF2B5EF4-FFF2-40B4-BE49-F238E27FC236}">
                      <a16:creationId xmlns:a16="http://schemas.microsoft.com/office/drawing/2014/main" id="{AB2E5EA8-8B41-F147-B7B4-FAB027FFE75B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356891"/>
                  <a:ext cx="948926" cy="171684"/>
                  <a:chOff x="481617" y="4740637"/>
                  <a:chExt cx="948926" cy="171684"/>
                </a:xfrm>
              </p:grpSpPr>
              <p:pic>
                <p:nvPicPr>
                  <p:cNvPr id="293" name="Picture Placeholder 10">
                    <a:extLst>
                      <a:ext uri="{FF2B5EF4-FFF2-40B4-BE49-F238E27FC236}">
                        <a16:creationId xmlns:a16="http://schemas.microsoft.com/office/drawing/2014/main" id="{F772B230-6E1C-3A4F-BF2E-7C16C26C1D6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481617" y="4740637"/>
                    <a:ext cx="414485" cy="170670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4" name="Picture Placeholder 10">
                    <a:extLst>
                      <a:ext uri="{FF2B5EF4-FFF2-40B4-BE49-F238E27FC236}">
                        <a16:creationId xmlns:a16="http://schemas.microsoft.com/office/drawing/2014/main" id="{0B965534-BA1C-AC46-9E4C-309867C52103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2"/>
                  <a:stretch>
                    <a:fillRect/>
                  </a:stretch>
                </p:blipFill>
                <p:spPr>
                  <a:xfrm>
                    <a:off x="1016058" y="4741651"/>
                    <a:ext cx="414485" cy="170670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grpSp>
              <p:nvGrpSpPr>
                <p:cNvPr id="287" name="Group 286">
                  <a:extLst>
                    <a:ext uri="{FF2B5EF4-FFF2-40B4-BE49-F238E27FC236}">
                      <a16:creationId xmlns:a16="http://schemas.microsoft.com/office/drawing/2014/main" id="{3160AD11-0723-BE4A-BCFC-CD1BFE78BF18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662432"/>
                  <a:ext cx="948926" cy="176856"/>
                  <a:chOff x="481617" y="4738051"/>
                  <a:chExt cx="948926" cy="176856"/>
                </a:xfrm>
              </p:grpSpPr>
              <p:pic>
                <p:nvPicPr>
                  <p:cNvPr id="291" name="Picture Placeholder 10">
                    <a:extLst>
                      <a:ext uri="{FF2B5EF4-FFF2-40B4-BE49-F238E27FC236}">
                        <a16:creationId xmlns:a16="http://schemas.microsoft.com/office/drawing/2014/main" id="{6686CF99-450D-6F49-8D29-6CA4F055594C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481617" y="4738051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2" name="Picture Placeholder 10">
                    <a:extLst>
                      <a:ext uri="{FF2B5EF4-FFF2-40B4-BE49-F238E27FC236}">
                        <a16:creationId xmlns:a16="http://schemas.microsoft.com/office/drawing/2014/main" id="{6438E1BE-E49F-B44B-AFAE-93A4F867E2A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4"/>
                  <a:stretch>
                    <a:fillRect/>
                  </a:stretch>
                </p:blipFill>
                <p:spPr>
                  <a:xfrm>
                    <a:off x="1016058" y="4739065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grpSp>
              <p:nvGrpSpPr>
                <p:cNvPr id="288" name="Group 287">
                  <a:extLst>
                    <a:ext uri="{FF2B5EF4-FFF2-40B4-BE49-F238E27FC236}">
                      <a16:creationId xmlns:a16="http://schemas.microsoft.com/office/drawing/2014/main" id="{8D79C337-CF90-9841-8F95-00A3591A1D74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970558"/>
                  <a:ext cx="948926" cy="176856"/>
                  <a:chOff x="481617" y="4738051"/>
                  <a:chExt cx="948926" cy="176856"/>
                </a:xfrm>
              </p:grpSpPr>
              <p:pic>
                <p:nvPicPr>
                  <p:cNvPr id="289" name="Picture Placeholder 10">
                    <a:extLst>
                      <a:ext uri="{FF2B5EF4-FFF2-40B4-BE49-F238E27FC236}">
                        <a16:creationId xmlns:a16="http://schemas.microsoft.com/office/drawing/2014/main" id="{D9356E8D-04CF-3745-9C66-8DEA02655732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481617" y="4738051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0" name="Picture Placeholder 10">
                    <a:extLst>
                      <a:ext uri="{FF2B5EF4-FFF2-40B4-BE49-F238E27FC236}">
                        <a16:creationId xmlns:a16="http://schemas.microsoft.com/office/drawing/2014/main" id="{88F868C5-0818-1A4E-A8BA-378C0F0C827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6"/>
                  <a:stretch>
                    <a:fillRect/>
                  </a:stretch>
                </p:blipFill>
                <p:spPr>
                  <a:xfrm>
                    <a:off x="1016058" y="4739065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</p:grpSp>
        </p:grpSp>
        <p:pic>
          <p:nvPicPr>
            <p:cNvPr id="417" name="Picture Placeholder 10">
              <a:extLst>
                <a:ext uri="{FF2B5EF4-FFF2-40B4-BE49-F238E27FC236}">
                  <a16:creationId xmlns:a16="http://schemas.microsoft.com/office/drawing/2014/main" id="{96ED309E-8948-5846-8C29-3B3BC28CA2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7"/>
            <a:stretch>
              <a:fillRect/>
            </a:stretch>
          </p:blipFill>
          <p:spPr>
            <a:xfrm>
              <a:off x="3889971" y="5169530"/>
              <a:ext cx="414482" cy="1302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8" name="Text Placeholder 20">
            <a:extLst>
              <a:ext uri="{FF2B5EF4-FFF2-40B4-BE49-F238E27FC236}">
                <a16:creationId xmlns:a16="http://schemas.microsoft.com/office/drawing/2014/main" id="{4390F2A5-2D76-CF4E-B9BA-CA4A00B91A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789" y="1584824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Icons</a:t>
            </a:r>
          </a:p>
        </p:txBody>
      </p:sp>
    </p:spTree>
    <p:extLst>
      <p:ext uri="{BB962C8B-B14F-4D97-AF65-F5344CB8AC3E}">
        <p14:creationId xmlns:p14="http://schemas.microsoft.com/office/powerpoint/2010/main" val="1753094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84024"/>
            <a:ext cx="6731284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799517"/>
            <a:ext cx="8625030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spc="-150" baseline="0" dirty="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29BFE5-4C5B-884E-B9E3-CD9FCB0AC6B8}"/>
              </a:ext>
            </a:extLst>
          </p:cNvPr>
          <p:cNvSpPr txBox="1"/>
          <p:nvPr userDrawn="1"/>
        </p:nvSpPr>
        <p:spPr>
          <a:xfrm>
            <a:off x="4820478" y="272332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endParaRPr lang="en-US" sz="4000" b="1" dirty="0">
              <a:solidFill>
                <a:srgbClr val="003764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6AD03E-73AE-6B4B-9DAC-9200903295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734460" y="6098626"/>
            <a:ext cx="1697713" cy="4381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Map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Map icons</a:t>
            </a:r>
          </a:p>
        </p:txBody>
      </p:sp>
      <p:sp>
        <p:nvSpPr>
          <p:cNvPr id="186" name="Text Placeholder 20">
            <a:extLst>
              <a:ext uri="{FF2B5EF4-FFF2-40B4-BE49-F238E27FC236}">
                <a16:creationId xmlns:a16="http://schemas.microsoft.com/office/drawing/2014/main" id="{FD054202-0EF4-DC45-9F63-C031020F20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99" y="4306820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ransportation Routes &amp; Icons</a:t>
            </a:r>
          </a:p>
        </p:txBody>
      </p: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43724FFB-3DE8-6A4D-9FF7-1A50DEDEF9E9}"/>
              </a:ext>
            </a:extLst>
          </p:cNvPr>
          <p:cNvGrpSpPr/>
          <p:nvPr userDrawn="1"/>
        </p:nvGrpSpPr>
        <p:grpSpPr>
          <a:xfrm>
            <a:off x="537897" y="4820319"/>
            <a:ext cx="3165911" cy="1445956"/>
            <a:chOff x="537897" y="4713225"/>
            <a:chExt cx="3165911" cy="1445956"/>
          </a:xfrm>
        </p:grpSpPr>
        <p:grpSp>
          <p:nvGrpSpPr>
            <p:cNvPr id="282" name="Group 281">
              <a:extLst>
                <a:ext uri="{FF2B5EF4-FFF2-40B4-BE49-F238E27FC236}">
                  <a16:creationId xmlns:a16="http://schemas.microsoft.com/office/drawing/2014/main" id="{3C785FCA-0223-4D44-B18C-3081E353A24E}"/>
                </a:ext>
              </a:extLst>
            </p:cNvPr>
            <p:cNvGrpSpPr/>
            <p:nvPr userDrawn="1"/>
          </p:nvGrpSpPr>
          <p:grpSpPr>
            <a:xfrm>
              <a:off x="537897" y="4721917"/>
              <a:ext cx="948926" cy="1342888"/>
              <a:chOff x="537897" y="4728447"/>
              <a:chExt cx="948926" cy="1342888"/>
            </a:xfrm>
          </p:grpSpPr>
          <p:grpSp>
            <p:nvGrpSpPr>
              <p:cNvPr id="269" name="Group 268">
                <a:extLst>
                  <a:ext uri="{FF2B5EF4-FFF2-40B4-BE49-F238E27FC236}">
                    <a16:creationId xmlns:a16="http://schemas.microsoft.com/office/drawing/2014/main" id="{6EB007A5-5903-AF48-9BE1-F9DC9F5909B2}"/>
                  </a:ext>
                </a:extLst>
              </p:cNvPr>
              <p:cNvGrpSpPr/>
              <p:nvPr userDrawn="1"/>
            </p:nvGrpSpPr>
            <p:grpSpPr>
              <a:xfrm>
                <a:off x="537897" y="4728447"/>
                <a:ext cx="948925" cy="196065"/>
                <a:chOff x="481617" y="4728447"/>
                <a:chExt cx="948925" cy="196065"/>
              </a:xfrm>
            </p:grpSpPr>
            <p:pic>
              <p:nvPicPr>
                <p:cNvPr id="231" name="Picture Placeholder 10">
                  <a:extLst>
                    <a:ext uri="{FF2B5EF4-FFF2-40B4-BE49-F238E27FC236}">
                      <a16:creationId xmlns:a16="http://schemas.microsoft.com/office/drawing/2014/main" id="{53F70E23-191B-DC43-ACF7-33B35EC3900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481617" y="4728447"/>
                  <a:ext cx="414485" cy="19505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68" name="Picture Placeholder 10">
                  <a:extLst>
                    <a:ext uri="{FF2B5EF4-FFF2-40B4-BE49-F238E27FC236}">
                      <a16:creationId xmlns:a16="http://schemas.microsoft.com/office/drawing/2014/main" id="{A670DFE7-6E61-FE41-8FC7-4BACEE99089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016059" y="4729461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0" name="Group 269">
                <a:extLst>
                  <a:ext uri="{FF2B5EF4-FFF2-40B4-BE49-F238E27FC236}">
                    <a16:creationId xmlns:a16="http://schemas.microsoft.com/office/drawing/2014/main" id="{8B9CE465-9203-7747-954E-2CA833A877C2}"/>
                  </a:ext>
                </a:extLst>
              </p:cNvPr>
              <p:cNvGrpSpPr/>
              <p:nvPr userDrawn="1"/>
            </p:nvGrpSpPr>
            <p:grpSpPr>
              <a:xfrm>
                <a:off x="537898" y="5036574"/>
                <a:ext cx="948924" cy="196065"/>
                <a:chOff x="481618" y="4728447"/>
                <a:chExt cx="948924" cy="196065"/>
              </a:xfrm>
            </p:grpSpPr>
            <p:pic>
              <p:nvPicPr>
                <p:cNvPr id="271" name="Picture Placeholder 10">
                  <a:extLst>
                    <a:ext uri="{FF2B5EF4-FFF2-40B4-BE49-F238E27FC236}">
                      <a16:creationId xmlns:a16="http://schemas.microsoft.com/office/drawing/2014/main" id="{7AC69E57-31F8-A440-9EA5-CB6F54A589B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481618" y="4728447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2" name="Picture Placeholder 10">
                  <a:extLst>
                    <a:ext uri="{FF2B5EF4-FFF2-40B4-BE49-F238E27FC236}">
                      <a16:creationId xmlns:a16="http://schemas.microsoft.com/office/drawing/2014/main" id="{CAAB0626-BD46-8E45-9012-D8B2EF2468B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016059" y="4729461"/>
                  <a:ext cx="414483" cy="19505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3" name="Group 272">
                <a:extLst>
                  <a:ext uri="{FF2B5EF4-FFF2-40B4-BE49-F238E27FC236}">
                    <a16:creationId xmlns:a16="http://schemas.microsoft.com/office/drawing/2014/main" id="{A0199657-3DEA-7342-AD27-950E0320259A}"/>
                  </a:ext>
                </a:extLst>
              </p:cNvPr>
              <p:cNvGrpSpPr/>
              <p:nvPr userDrawn="1"/>
            </p:nvGrpSpPr>
            <p:grpSpPr>
              <a:xfrm>
                <a:off x="537897" y="5350796"/>
                <a:ext cx="948926" cy="183875"/>
                <a:chOff x="481617" y="4734542"/>
                <a:chExt cx="948926" cy="183875"/>
              </a:xfrm>
            </p:grpSpPr>
            <p:pic>
              <p:nvPicPr>
                <p:cNvPr id="274" name="Picture Placeholder 10">
                  <a:extLst>
                    <a:ext uri="{FF2B5EF4-FFF2-40B4-BE49-F238E27FC236}">
                      <a16:creationId xmlns:a16="http://schemas.microsoft.com/office/drawing/2014/main" id="{FA4F9528-68A1-E04C-8D70-FEBCD20BF39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81617" y="4734542"/>
                  <a:ext cx="414485" cy="182861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5" name="Picture Placeholder 10">
                  <a:extLst>
                    <a:ext uri="{FF2B5EF4-FFF2-40B4-BE49-F238E27FC236}">
                      <a16:creationId xmlns:a16="http://schemas.microsoft.com/office/drawing/2014/main" id="{BFA44653-F3D6-574F-8224-E8D2656B37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16058" y="4735556"/>
                  <a:ext cx="414485" cy="182861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6" name="Group 275">
                <a:extLst>
                  <a:ext uri="{FF2B5EF4-FFF2-40B4-BE49-F238E27FC236}">
                    <a16:creationId xmlns:a16="http://schemas.microsoft.com/office/drawing/2014/main" id="{FBC96464-96ED-4643-ABDE-4842D90D3489}"/>
                  </a:ext>
                </a:extLst>
              </p:cNvPr>
              <p:cNvGrpSpPr/>
              <p:nvPr userDrawn="1"/>
            </p:nvGrpSpPr>
            <p:grpSpPr>
              <a:xfrm>
                <a:off x="537897" y="5677209"/>
                <a:ext cx="948926" cy="147302"/>
                <a:chOff x="481617" y="4752828"/>
                <a:chExt cx="948926" cy="147302"/>
              </a:xfrm>
            </p:grpSpPr>
            <p:pic>
              <p:nvPicPr>
                <p:cNvPr id="277" name="Picture Placeholder 10">
                  <a:extLst>
                    <a:ext uri="{FF2B5EF4-FFF2-40B4-BE49-F238E27FC236}">
                      <a16:creationId xmlns:a16="http://schemas.microsoft.com/office/drawing/2014/main" id="{F0B73528-0BD0-4749-9D14-5F5B34BE6B6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81617" y="4752828"/>
                  <a:ext cx="414485" cy="146288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78" name="Picture Placeholder 10">
                  <a:extLst>
                    <a:ext uri="{FF2B5EF4-FFF2-40B4-BE49-F238E27FC236}">
                      <a16:creationId xmlns:a16="http://schemas.microsoft.com/office/drawing/2014/main" id="{D66C06C6-9510-A340-A90D-C01B1093FC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16058" y="4753842"/>
                  <a:ext cx="414485" cy="146288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279" name="Group 278">
                <a:extLst>
                  <a:ext uri="{FF2B5EF4-FFF2-40B4-BE49-F238E27FC236}">
                    <a16:creationId xmlns:a16="http://schemas.microsoft.com/office/drawing/2014/main" id="{E531E1AE-694F-5248-81CF-29CD48449103}"/>
                  </a:ext>
                </a:extLst>
              </p:cNvPr>
              <p:cNvGrpSpPr/>
              <p:nvPr userDrawn="1"/>
            </p:nvGrpSpPr>
            <p:grpSpPr>
              <a:xfrm>
                <a:off x="537897" y="6046637"/>
                <a:ext cx="948926" cy="24698"/>
                <a:chOff x="481617" y="4814130"/>
                <a:chExt cx="948926" cy="24698"/>
              </a:xfrm>
            </p:grpSpPr>
            <p:pic>
              <p:nvPicPr>
                <p:cNvPr id="280" name="Picture Placeholder 10">
                  <a:extLst>
                    <a:ext uri="{FF2B5EF4-FFF2-40B4-BE49-F238E27FC236}">
                      <a16:creationId xmlns:a16="http://schemas.microsoft.com/office/drawing/2014/main" id="{2BDFB8AB-BD4B-DC41-A40F-44C8A0A194A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81617" y="4814130"/>
                  <a:ext cx="414485" cy="2368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81" name="Picture Placeholder 10">
                  <a:extLst>
                    <a:ext uri="{FF2B5EF4-FFF2-40B4-BE49-F238E27FC236}">
                      <a16:creationId xmlns:a16="http://schemas.microsoft.com/office/drawing/2014/main" id="{C6940C18-31BA-BA4A-9BD4-06A72FACEE8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1016058" y="4815144"/>
                  <a:ext cx="414485" cy="23684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FB4D7DB-60B0-2343-955F-2FA757484A78}"/>
                </a:ext>
              </a:extLst>
            </p:cNvPr>
            <p:cNvGrpSpPr/>
            <p:nvPr userDrawn="1"/>
          </p:nvGrpSpPr>
          <p:grpSpPr>
            <a:xfrm>
              <a:off x="1485068" y="4713225"/>
              <a:ext cx="2218740" cy="1445956"/>
              <a:chOff x="1589261" y="4701947"/>
              <a:chExt cx="1317896" cy="1445956"/>
            </a:xfrm>
          </p:grpSpPr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A0EE3EA8-C845-0B4A-B65C-A34AA5AAD4C7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terstate Single/Double Digit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64354C1E-AE3C-4242-AA46-380A830E64AD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terstate Triple Digit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D1AFA884-3C00-C24C-A5F4-EBCFB6265797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Highway</a:t>
                </a:r>
              </a:p>
            </p:txBody>
          </p:sp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C639DF1F-F4BA-2A4F-8B80-A821790629A4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Route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59EBA501-CEA4-1A4F-B1B2-882B8D63EDA4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Railway</a:t>
                </a:r>
              </a:p>
            </p:txBody>
          </p:sp>
        </p:grpSp>
      </p:grpSp>
      <p:sp>
        <p:nvSpPr>
          <p:cNvPr id="243" name="Text Placeholder 20">
            <a:extLst>
              <a:ext uri="{FF2B5EF4-FFF2-40B4-BE49-F238E27FC236}">
                <a16:creationId xmlns:a16="http://schemas.microsoft.com/office/drawing/2014/main" id="{B68F2E4F-282B-9E40-BEA7-84C58757B4F8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199632" y="4306820"/>
            <a:ext cx="3180475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frastructure Icons</a:t>
            </a:r>
          </a:p>
        </p:txBody>
      </p:sp>
      <p:grpSp>
        <p:nvGrpSpPr>
          <p:cNvPr id="414" name="Group 413">
            <a:extLst>
              <a:ext uri="{FF2B5EF4-FFF2-40B4-BE49-F238E27FC236}">
                <a16:creationId xmlns:a16="http://schemas.microsoft.com/office/drawing/2014/main" id="{FBCD19E8-A42A-0840-BB1F-E263C0F9249C}"/>
              </a:ext>
            </a:extLst>
          </p:cNvPr>
          <p:cNvGrpSpPr/>
          <p:nvPr userDrawn="1"/>
        </p:nvGrpSpPr>
        <p:grpSpPr>
          <a:xfrm>
            <a:off x="6289280" y="4820319"/>
            <a:ext cx="3167666" cy="1445956"/>
            <a:chOff x="6289280" y="4713225"/>
            <a:chExt cx="3167666" cy="1445956"/>
          </a:xfrm>
        </p:grpSpPr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6F78ADFA-1BA0-964C-8B8B-8341B82C8562}"/>
                </a:ext>
              </a:extLst>
            </p:cNvPr>
            <p:cNvGrpSpPr/>
            <p:nvPr userDrawn="1"/>
          </p:nvGrpSpPr>
          <p:grpSpPr>
            <a:xfrm>
              <a:off x="7238206" y="4713225"/>
              <a:ext cx="2218740" cy="1445956"/>
              <a:chOff x="1589261" y="4701947"/>
              <a:chExt cx="1317896" cy="1445956"/>
            </a:xfrm>
          </p:grpSpPr>
          <p:sp>
            <p:nvSpPr>
              <p:cNvPr id="261" name="Rectangle 260">
                <a:extLst>
                  <a:ext uri="{FF2B5EF4-FFF2-40B4-BE49-F238E27FC236}">
                    <a16:creationId xmlns:a16="http://schemas.microsoft.com/office/drawing/2014/main" id="{08D56B1E-642C-424E-B931-CA429D9DFE74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Sewer Line</a:t>
                </a:r>
              </a:p>
            </p:txBody>
          </p:sp>
          <p:sp>
            <p:nvSpPr>
              <p:cNvPr id="262" name="Rectangle 261">
                <a:extLst>
                  <a:ext uri="{FF2B5EF4-FFF2-40B4-BE49-F238E27FC236}">
                    <a16:creationId xmlns:a16="http://schemas.microsoft.com/office/drawing/2014/main" id="{49F6499B-4B28-E14B-9382-1E5B2027B941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Gas Line</a:t>
                </a:r>
              </a:p>
            </p:txBody>
          </p:sp>
          <p:sp>
            <p:nvSpPr>
              <p:cNvPr id="263" name="Rectangle 262">
                <a:extLst>
                  <a:ext uri="{FF2B5EF4-FFF2-40B4-BE49-F238E27FC236}">
                    <a16:creationId xmlns:a16="http://schemas.microsoft.com/office/drawing/2014/main" id="{F9D4F9BF-5068-504B-8EFA-28D4AB8C7B08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Water Line</a:t>
                </a:r>
              </a:p>
            </p:txBody>
          </p:sp>
          <p:sp>
            <p:nvSpPr>
              <p:cNvPr id="264" name="Rectangle 263">
                <a:extLst>
                  <a:ext uri="{FF2B5EF4-FFF2-40B4-BE49-F238E27FC236}">
                    <a16:creationId xmlns:a16="http://schemas.microsoft.com/office/drawing/2014/main" id="{18B6EC83-4309-364C-A8E7-1A917B909D79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unications Line</a:t>
                </a:r>
              </a:p>
            </p:txBody>
          </p:sp>
          <p:sp>
            <p:nvSpPr>
              <p:cNvPr id="265" name="Rectangle 264">
                <a:extLst>
                  <a:ext uri="{FF2B5EF4-FFF2-40B4-BE49-F238E27FC236}">
                    <a16:creationId xmlns:a16="http://schemas.microsoft.com/office/drawing/2014/main" id="{5D1B2DDF-B645-4E42-A56F-C38BA96ECA6B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ower Line</a:t>
                </a:r>
              </a:p>
            </p:txBody>
          </p: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888D0EC1-E67A-B042-8D76-E3C0B12F9E8F}"/>
                </a:ext>
              </a:extLst>
            </p:cNvPr>
            <p:cNvGrpSpPr/>
            <p:nvPr userDrawn="1"/>
          </p:nvGrpSpPr>
          <p:grpSpPr>
            <a:xfrm>
              <a:off x="6289280" y="4734107"/>
              <a:ext cx="948926" cy="1404191"/>
              <a:chOff x="537897" y="4740637"/>
              <a:chExt cx="948926" cy="1404191"/>
            </a:xfrm>
          </p:grpSpPr>
          <p:grpSp>
            <p:nvGrpSpPr>
              <p:cNvPr id="300" name="Group 299">
                <a:extLst>
                  <a:ext uri="{FF2B5EF4-FFF2-40B4-BE49-F238E27FC236}">
                    <a16:creationId xmlns:a16="http://schemas.microsoft.com/office/drawing/2014/main" id="{93FADB4E-9021-3B41-B3EE-565F06E811BA}"/>
                  </a:ext>
                </a:extLst>
              </p:cNvPr>
              <p:cNvGrpSpPr/>
              <p:nvPr userDrawn="1"/>
            </p:nvGrpSpPr>
            <p:grpSpPr>
              <a:xfrm>
                <a:off x="537897" y="4740637"/>
                <a:ext cx="948926" cy="171684"/>
                <a:chOff x="481617" y="4740637"/>
                <a:chExt cx="948926" cy="171684"/>
              </a:xfrm>
            </p:grpSpPr>
            <p:pic>
              <p:nvPicPr>
                <p:cNvPr id="313" name="Picture Placeholder 10">
                  <a:extLst>
                    <a:ext uri="{FF2B5EF4-FFF2-40B4-BE49-F238E27FC236}">
                      <a16:creationId xmlns:a16="http://schemas.microsoft.com/office/drawing/2014/main" id="{D0645000-4C66-9647-96F6-B6975EC4B89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481617" y="4740637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4" name="Picture Placeholder 10">
                  <a:extLst>
                    <a:ext uri="{FF2B5EF4-FFF2-40B4-BE49-F238E27FC236}">
                      <a16:creationId xmlns:a16="http://schemas.microsoft.com/office/drawing/2014/main" id="{06A13FDF-6C9A-E04A-AA35-E686E8FDD3C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E1619F2C-244F-DF45-8398-756EB2886EBB}"/>
                  </a:ext>
                </a:extLst>
              </p:cNvPr>
              <p:cNvGrpSpPr/>
              <p:nvPr userDrawn="1"/>
            </p:nvGrpSpPr>
            <p:grpSpPr>
              <a:xfrm>
                <a:off x="537897" y="5049778"/>
                <a:ext cx="948926" cy="170670"/>
                <a:chOff x="481617" y="4741651"/>
                <a:chExt cx="948926" cy="170670"/>
              </a:xfrm>
            </p:grpSpPr>
            <p:pic>
              <p:nvPicPr>
                <p:cNvPr id="311" name="Picture Placeholder 10">
                  <a:extLst>
                    <a:ext uri="{FF2B5EF4-FFF2-40B4-BE49-F238E27FC236}">
                      <a16:creationId xmlns:a16="http://schemas.microsoft.com/office/drawing/2014/main" id="{5ABD6797-DEEE-E84B-B84E-FFE5F7B50EB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2" name="Picture Placeholder 10">
                  <a:extLst>
                    <a:ext uri="{FF2B5EF4-FFF2-40B4-BE49-F238E27FC236}">
                      <a16:creationId xmlns:a16="http://schemas.microsoft.com/office/drawing/2014/main" id="{71528691-4DD7-5246-AAB3-E094F2687F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2" name="Group 301">
                <a:extLst>
                  <a:ext uri="{FF2B5EF4-FFF2-40B4-BE49-F238E27FC236}">
                    <a16:creationId xmlns:a16="http://schemas.microsoft.com/office/drawing/2014/main" id="{8C6B318F-A323-9C42-9003-28A02F7D32AB}"/>
                  </a:ext>
                </a:extLst>
              </p:cNvPr>
              <p:cNvGrpSpPr/>
              <p:nvPr userDrawn="1"/>
            </p:nvGrpSpPr>
            <p:grpSpPr>
              <a:xfrm>
                <a:off x="537897" y="5357905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9" name="Picture Placeholder 10">
                  <a:extLst>
                    <a:ext uri="{FF2B5EF4-FFF2-40B4-BE49-F238E27FC236}">
                      <a16:creationId xmlns:a16="http://schemas.microsoft.com/office/drawing/2014/main" id="{2644030B-7E21-844B-A238-CA253810975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10" name="Picture Placeholder 10">
                  <a:extLst>
                    <a:ext uri="{FF2B5EF4-FFF2-40B4-BE49-F238E27FC236}">
                      <a16:creationId xmlns:a16="http://schemas.microsoft.com/office/drawing/2014/main" id="{A4A999F4-DCB6-644E-80BE-A8B024192A3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69C6B87F-2DDB-C544-A29E-72A9B2D6DA49}"/>
                  </a:ext>
                </a:extLst>
              </p:cNvPr>
              <p:cNvGrpSpPr/>
              <p:nvPr userDrawn="1"/>
            </p:nvGrpSpPr>
            <p:grpSpPr>
              <a:xfrm>
                <a:off x="537897" y="5666032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7" name="Picture Placeholder 10">
                  <a:extLst>
                    <a:ext uri="{FF2B5EF4-FFF2-40B4-BE49-F238E27FC236}">
                      <a16:creationId xmlns:a16="http://schemas.microsoft.com/office/drawing/2014/main" id="{7E94987E-4776-8E48-8C02-FD339DDF58D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08" name="Picture Placeholder 10">
                  <a:extLst>
                    <a:ext uri="{FF2B5EF4-FFF2-40B4-BE49-F238E27FC236}">
                      <a16:creationId xmlns:a16="http://schemas.microsoft.com/office/drawing/2014/main" id="{344A7B27-4752-C74E-8E3B-49E9C4E524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04" name="Group 303">
                <a:extLst>
                  <a:ext uri="{FF2B5EF4-FFF2-40B4-BE49-F238E27FC236}">
                    <a16:creationId xmlns:a16="http://schemas.microsoft.com/office/drawing/2014/main" id="{77368174-EF57-2941-9E3E-64594910D762}"/>
                  </a:ext>
                </a:extLst>
              </p:cNvPr>
              <p:cNvGrpSpPr/>
              <p:nvPr userDrawn="1"/>
            </p:nvGrpSpPr>
            <p:grpSpPr>
              <a:xfrm>
                <a:off x="537897" y="5974158"/>
                <a:ext cx="948926" cy="170670"/>
                <a:chOff x="481617" y="4741651"/>
                <a:chExt cx="948926" cy="170670"/>
              </a:xfrm>
            </p:grpSpPr>
            <p:pic>
              <p:nvPicPr>
                <p:cNvPr id="305" name="Picture Placeholder 10">
                  <a:extLst>
                    <a:ext uri="{FF2B5EF4-FFF2-40B4-BE49-F238E27FC236}">
                      <a16:creationId xmlns:a16="http://schemas.microsoft.com/office/drawing/2014/main" id="{0D1F527C-AF74-124E-BE45-7ABDA37B42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481617" y="4743075"/>
                  <a:ext cx="414485" cy="16579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06" name="Picture Placeholder 10">
                  <a:extLst>
                    <a:ext uri="{FF2B5EF4-FFF2-40B4-BE49-F238E27FC236}">
                      <a16:creationId xmlns:a16="http://schemas.microsoft.com/office/drawing/2014/main" id="{B67F5A65-A456-0F4C-A2C9-8334B9C4E58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1016058" y="4741651"/>
                  <a:ext cx="414485" cy="170670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</p:grp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F97FD730-5EC1-6046-9D83-C3E8ED40E646}"/>
              </a:ext>
            </a:extLst>
          </p:cNvPr>
          <p:cNvGrpSpPr/>
          <p:nvPr userDrawn="1"/>
        </p:nvGrpSpPr>
        <p:grpSpPr>
          <a:xfrm>
            <a:off x="531698" y="2088801"/>
            <a:ext cx="2928800" cy="1749736"/>
            <a:chOff x="798374" y="1729047"/>
            <a:chExt cx="2928800" cy="1749736"/>
          </a:xfrm>
        </p:grpSpPr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AEBC528D-1B04-C748-8435-A6C874831AD9}"/>
                </a:ext>
              </a:extLst>
            </p:cNvPr>
            <p:cNvGrpSpPr/>
            <p:nvPr userDrawn="1"/>
          </p:nvGrpSpPr>
          <p:grpSpPr>
            <a:xfrm>
              <a:off x="1508434" y="1729047"/>
              <a:ext cx="2218740" cy="1749736"/>
              <a:chOff x="1589261" y="4701947"/>
              <a:chExt cx="1317896" cy="1749736"/>
            </a:xfrm>
          </p:grpSpPr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259D36A8-096D-494F-83EC-037F5391E998}"/>
                  </a:ext>
                </a:extLst>
              </p:cNvPr>
              <p:cNvSpPr/>
              <p:nvPr userDrawn="1"/>
            </p:nvSpPr>
            <p:spPr>
              <a:xfrm>
                <a:off x="1589261" y="4701947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ercial Airport</a:t>
                </a:r>
              </a:p>
            </p:txBody>
          </p:sp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751587F3-CD84-D240-AD74-3C1EAB1748BE}"/>
                  </a:ext>
                </a:extLst>
              </p:cNvPr>
              <p:cNvSpPr/>
              <p:nvPr userDrawn="1"/>
            </p:nvSpPr>
            <p:spPr>
              <a:xfrm>
                <a:off x="1589261" y="5005728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General Airport</a:t>
                </a:r>
              </a:p>
            </p:txBody>
          </p:sp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A79EBE9-2A7B-B640-AFCA-871E8E55B4AB}"/>
                  </a:ext>
                </a:extLst>
              </p:cNvPr>
              <p:cNvSpPr/>
              <p:nvPr userDrawn="1"/>
            </p:nvSpPr>
            <p:spPr>
              <a:xfrm>
                <a:off x="1589261" y="5309509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mmunity College</a:t>
                </a:r>
              </a:p>
            </p:txBody>
          </p:sp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0956DAB1-C127-9744-9F47-85062E1A21DE}"/>
                  </a:ext>
                </a:extLst>
              </p:cNvPr>
              <p:cNvSpPr/>
              <p:nvPr userDrawn="1"/>
            </p:nvSpPr>
            <p:spPr>
              <a:xfrm>
                <a:off x="1589261" y="5613290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University</a:t>
                </a:r>
              </a:p>
            </p:txBody>
          </p:sp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0ACD1D53-57DE-584E-A1BD-71E6DE1575E8}"/>
                  </a:ext>
                </a:extLst>
              </p:cNvPr>
              <p:cNvSpPr/>
              <p:nvPr userDrawn="1"/>
            </p:nvSpPr>
            <p:spPr>
              <a:xfrm>
                <a:off x="1589261" y="591707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onsortium</a:t>
                </a:r>
              </a:p>
            </p:txBody>
          </p:sp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BB525A99-2538-544B-8C81-D1FF4D390341}"/>
                  </a:ext>
                </a:extLst>
              </p:cNvPr>
              <p:cNvSpPr/>
              <p:nvPr userDrawn="1"/>
            </p:nvSpPr>
            <p:spPr>
              <a:xfrm>
                <a:off x="1589261" y="6220851"/>
                <a:ext cx="1317896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Hospital</a:t>
                </a:r>
              </a:p>
            </p:txBody>
          </p:sp>
        </p:grpSp>
        <p:grpSp>
          <p:nvGrpSpPr>
            <p:cNvPr id="318" name="Group 317">
              <a:extLst>
                <a:ext uri="{FF2B5EF4-FFF2-40B4-BE49-F238E27FC236}">
                  <a16:creationId xmlns:a16="http://schemas.microsoft.com/office/drawing/2014/main" id="{2BBB913E-AADD-734F-A9DE-802565838590}"/>
                </a:ext>
              </a:extLst>
            </p:cNvPr>
            <p:cNvGrpSpPr/>
            <p:nvPr userDrawn="1"/>
          </p:nvGrpSpPr>
          <p:grpSpPr>
            <a:xfrm>
              <a:off x="798374" y="1744270"/>
              <a:ext cx="200387" cy="1719291"/>
              <a:chOff x="559451" y="4717170"/>
              <a:chExt cx="200387" cy="1719291"/>
            </a:xfrm>
          </p:grpSpPr>
          <p:pic>
            <p:nvPicPr>
              <p:cNvPr id="326" name="Picture Placeholder 10">
                <a:extLst>
                  <a:ext uri="{FF2B5EF4-FFF2-40B4-BE49-F238E27FC236}">
                    <a16:creationId xmlns:a16="http://schemas.microsoft.com/office/drawing/2014/main" id="{C7C93AC9-CF5D-5D4A-830F-63BC9A2BE02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559451" y="4717170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7" name="Picture Placeholder 10">
                <a:extLst>
                  <a:ext uri="{FF2B5EF4-FFF2-40B4-BE49-F238E27FC236}">
                    <a16:creationId xmlns:a16="http://schemas.microsoft.com/office/drawing/2014/main" id="{42058270-4147-A646-8043-DB0B5B54F16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559451" y="5020951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8" name="Picture Placeholder 10">
                <a:extLst>
                  <a:ext uri="{FF2B5EF4-FFF2-40B4-BE49-F238E27FC236}">
                    <a16:creationId xmlns:a16="http://schemas.microsoft.com/office/drawing/2014/main" id="{8BBD3BD2-76AF-9440-AAD3-2E4B851F022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4"/>
              <a:stretch>
                <a:fillRect/>
              </a:stretch>
            </p:blipFill>
            <p:spPr>
              <a:xfrm>
                <a:off x="559451" y="5324732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9" name="Picture Placeholder 10">
                <a:extLst>
                  <a:ext uri="{FF2B5EF4-FFF2-40B4-BE49-F238E27FC236}">
                    <a16:creationId xmlns:a16="http://schemas.microsoft.com/office/drawing/2014/main" id="{60FF011D-2F09-594E-9850-B33242E69D3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559451" y="5628513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0" name="Picture Placeholder 10">
                <a:extLst>
                  <a:ext uri="{FF2B5EF4-FFF2-40B4-BE49-F238E27FC236}">
                    <a16:creationId xmlns:a16="http://schemas.microsoft.com/office/drawing/2014/main" id="{B89D4B5B-6BD4-D943-98F7-412EED4CAD6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559451" y="593229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31" name="Picture Placeholder 10">
                <a:extLst>
                  <a:ext uri="{FF2B5EF4-FFF2-40B4-BE49-F238E27FC236}">
                    <a16:creationId xmlns:a16="http://schemas.microsoft.com/office/drawing/2014/main" id="{2DCCA9DB-55BC-1840-9070-6570AD5A593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559451" y="623607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FB8FD4AE-C9FB-1842-973A-31BA630B601E}"/>
                </a:ext>
              </a:extLst>
            </p:cNvPr>
            <p:cNvGrpSpPr/>
            <p:nvPr userDrawn="1"/>
          </p:nvGrpSpPr>
          <p:grpSpPr>
            <a:xfrm>
              <a:off x="1126382" y="1744270"/>
              <a:ext cx="200387" cy="1719291"/>
              <a:chOff x="914311" y="4717170"/>
              <a:chExt cx="200387" cy="1719291"/>
            </a:xfrm>
          </p:grpSpPr>
          <p:pic>
            <p:nvPicPr>
              <p:cNvPr id="320" name="Picture Placeholder 10">
                <a:extLst>
                  <a:ext uri="{FF2B5EF4-FFF2-40B4-BE49-F238E27FC236}">
                    <a16:creationId xmlns:a16="http://schemas.microsoft.com/office/drawing/2014/main" id="{D2C5519B-C5AC-D94A-9468-63526C4B71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914311" y="4717170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1" name="Picture Placeholder 10">
                <a:extLst>
                  <a:ext uri="{FF2B5EF4-FFF2-40B4-BE49-F238E27FC236}">
                    <a16:creationId xmlns:a16="http://schemas.microsoft.com/office/drawing/2014/main" id="{F304DA68-D442-0345-B363-24053C304AB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9"/>
              <a:stretch>
                <a:fillRect/>
              </a:stretch>
            </p:blipFill>
            <p:spPr>
              <a:xfrm>
                <a:off x="914311" y="5020951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2" name="Picture Placeholder 10">
                <a:extLst>
                  <a:ext uri="{FF2B5EF4-FFF2-40B4-BE49-F238E27FC236}">
                    <a16:creationId xmlns:a16="http://schemas.microsoft.com/office/drawing/2014/main" id="{8EF9F7F4-0962-1D4A-8EF5-727251FF576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0"/>
              <a:stretch>
                <a:fillRect/>
              </a:stretch>
            </p:blipFill>
            <p:spPr>
              <a:xfrm>
                <a:off x="914311" y="5324732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3" name="Picture Placeholder 10">
                <a:extLst>
                  <a:ext uri="{FF2B5EF4-FFF2-40B4-BE49-F238E27FC236}">
                    <a16:creationId xmlns:a16="http://schemas.microsoft.com/office/drawing/2014/main" id="{885D89C6-9809-FD45-B08F-A27944C0605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1"/>
              <a:stretch>
                <a:fillRect/>
              </a:stretch>
            </p:blipFill>
            <p:spPr>
              <a:xfrm>
                <a:off x="914311" y="5628513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4" name="Picture Placeholder 10">
                <a:extLst>
                  <a:ext uri="{FF2B5EF4-FFF2-40B4-BE49-F238E27FC236}">
                    <a16:creationId xmlns:a16="http://schemas.microsoft.com/office/drawing/2014/main" id="{D89BCADF-61F5-0D48-90EB-26F0E4FBB34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2"/>
              <a:stretch>
                <a:fillRect/>
              </a:stretch>
            </p:blipFill>
            <p:spPr>
              <a:xfrm>
                <a:off x="914311" y="593229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325" name="Picture Placeholder 10">
                <a:extLst>
                  <a:ext uri="{FF2B5EF4-FFF2-40B4-BE49-F238E27FC236}">
                    <a16:creationId xmlns:a16="http://schemas.microsoft.com/office/drawing/2014/main" id="{29760AB0-B798-6A4D-AC8A-A768DBF6DF0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3"/>
              <a:stretch>
                <a:fillRect/>
              </a:stretch>
            </p:blipFill>
            <p:spPr>
              <a:xfrm>
                <a:off x="914311" y="6236074"/>
                <a:ext cx="200387" cy="200387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410" name="Group 409">
            <a:extLst>
              <a:ext uri="{FF2B5EF4-FFF2-40B4-BE49-F238E27FC236}">
                <a16:creationId xmlns:a16="http://schemas.microsoft.com/office/drawing/2014/main" id="{E4036471-9127-DC4D-894B-B9CE3D3429BD}"/>
              </a:ext>
            </a:extLst>
          </p:cNvPr>
          <p:cNvGrpSpPr/>
          <p:nvPr userDrawn="1"/>
        </p:nvGrpSpPr>
        <p:grpSpPr>
          <a:xfrm>
            <a:off x="3385615" y="2088801"/>
            <a:ext cx="2928800" cy="1749736"/>
            <a:chOff x="3361575" y="1701615"/>
            <a:chExt cx="2928800" cy="1749736"/>
          </a:xfrm>
        </p:grpSpPr>
        <p:pic>
          <p:nvPicPr>
            <p:cNvPr id="407" name="Picture Placeholder 10">
              <a:extLst>
                <a:ext uri="{FF2B5EF4-FFF2-40B4-BE49-F238E27FC236}">
                  <a16:creationId xmlns:a16="http://schemas.microsoft.com/office/drawing/2014/main" id="{6E26E336-804D-2042-AC3C-1BEFC85438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3422574" y="3302123"/>
              <a:ext cx="85344" cy="85344"/>
            </a:xfrm>
            <a:prstGeom prst="rect">
              <a:avLst/>
            </a:prstGeom>
            <a:ln>
              <a:noFill/>
            </a:ln>
          </p:spPr>
        </p:pic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14B0FEF1-3B94-BA44-8498-C64DCDD8DCB8}"/>
                </a:ext>
              </a:extLst>
            </p:cNvPr>
            <p:cNvGrpSpPr/>
            <p:nvPr userDrawn="1"/>
          </p:nvGrpSpPr>
          <p:grpSpPr>
            <a:xfrm>
              <a:off x="3361575" y="1701615"/>
              <a:ext cx="2928800" cy="1749736"/>
              <a:chOff x="798374" y="1729047"/>
              <a:chExt cx="2928800" cy="1749736"/>
            </a:xfrm>
          </p:grpSpPr>
          <p:grpSp>
            <p:nvGrpSpPr>
              <p:cNvPr id="363" name="Group 362">
                <a:extLst>
                  <a:ext uri="{FF2B5EF4-FFF2-40B4-BE49-F238E27FC236}">
                    <a16:creationId xmlns:a16="http://schemas.microsoft.com/office/drawing/2014/main" id="{AFE8036B-3A19-9442-901A-1B323E4FB8D8}"/>
                  </a:ext>
                </a:extLst>
              </p:cNvPr>
              <p:cNvGrpSpPr/>
              <p:nvPr userDrawn="1"/>
            </p:nvGrpSpPr>
            <p:grpSpPr>
              <a:xfrm>
                <a:off x="1508434" y="1729047"/>
                <a:ext cx="2218740" cy="1749736"/>
                <a:chOff x="1589261" y="4701947"/>
                <a:chExt cx="1317896" cy="1749736"/>
              </a:xfrm>
            </p:grpSpPr>
            <p:sp>
              <p:nvSpPr>
                <p:cNvPr id="378" name="Rectangle 377">
                  <a:extLst>
                    <a:ext uri="{FF2B5EF4-FFF2-40B4-BE49-F238E27FC236}">
                      <a16:creationId xmlns:a16="http://schemas.microsoft.com/office/drawing/2014/main" id="{CB2FE2C0-4DDF-B24D-93B8-BBCE095A4E9B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rt</a:t>
                  </a:r>
                </a:p>
              </p:txBody>
            </p:sp>
            <p:sp>
              <p:nvSpPr>
                <p:cNvPr id="379" name="Rectangle 378">
                  <a:extLst>
                    <a:ext uri="{FF2B5EF4-FFF2-40B4-BE49-F238E27FC236}">
                      <a16:creationId xmlns:a16="http://schemas.microsoft.com/office/drawing/2014/main" id="{5A703A29-F42D-9A45-BC00-36404057EFB0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rt of Virginia</a:t>
                  </a:r>
                </a:p>
              </p:txBody>
            </p:sp>
            <p:sp>
              <p:nvSpPr>
                <p:cNvPr id="380" name="Rectangle 379">
                  <a:extLst>
                    <a:ext uri="{FF2B5EF4-FFF2-40B4-BE49-F238E27FC236}">
                      <a16:creationId xmlns:a16="http://schemas.microsoft.com/office/drawing/2014/main" id="{E38126C9-F2F6-9F40-96BF-D66A03FEC2F5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Rail Station</a:t>
                  </a:r>
                </a:p>
              </p:txBody>
            </p:sp>
            <p:sp>
              <p:nvSpPr>
                <p:cNvPr id="381" name="Rectangle 380">
                  <a:extLst>
                    <a:ext uri="{FF2B5EF4-FFF2-40B4-BE49-F238E27FC236}">
                      <a16:creationId xmlns:a16="http://schemas.microsoft.com/office/drawing/2014/main" id="{DA891025-C18E-AB42-91B5-CFB7A0096C2A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us Stop</a:t>
                  </a:r>
                </a:p>
              </p:txBody>
            </p:sp>
            <p:sp>
              <p:nvSpPr>
                <p:cNvPr id="382" name="Rectangle 381">
                  <a:extLst>
                    <a:ext uri="{FF2B5EF4-FFF2-40B4-BE49-F238E27FC236}">
                      <a16:creationId xmlns:a16="http://schemas.microsoft.com/office/drawing/2014/main" id="{82FE33DC-7A39-C84A-AFAC-4407A32AC68F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City</a:t>
                  </a:r>
                </a:p>
              </p:txBody>
            </p:sp>
            <p:sp>
              <p:nvSpPr>
                <p:cNvPr id="383" name="Rectangle 382">
                  <a:extLst>
                    <a:ext uri="{FF2B5EF4-FFF2-40B4-BE49-F238E27FC236}">
                      <a16:creationId xmlns:a16="http://schemas.microsoft.com/office/drawing/2014/main" id="{A7871954-FA7B-5443-BEC0-05C602F83015}"/>
                    </a:ext>
                  </a:extLst>
                </p:cNvPr>
                <p:cNvSpPr/>
                <p:nvPr userDrawn="1"/>
              </p:nvSpPr>
              <p:spPr>
                <a:xfrm>
                  <a:off x="1589261" y="622085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De-emphasized City</a:t>
                  </a:r>
                </a:p>
              </p:txBody>
            </p:sp>
          </p:grpSp>
          <p:grpSp>
            <p:nvGrpSpPr>
              <p:cNvPr id="364" name="Group 363">
                <a:extLst>
                  <a:ext uri="{FF2B5EF4-FFF2-40B4-BE49-F238E27FC236}">
                    <a16:creationId xmlns:a16="http://schemas.microsoft.com/office/drawing/2014/main" id="{D67DBC48-E7C5-0D48-BF84-6A37BBAE2A66}"/>
                  </a:ext>
                </a:extLst>
              </p:cNvPr>
              <p:cNvGrpSpPr/>
              <p:nvPr userDrawn="1"/>
            </p:nvGrpSpPr>
            <p:grpSpPr>
              <a:xfrm>
                <a:off x="798374" y="1744270"/>
                <a:ext cx="200387" cy="1394298"/>
                <a:chOff x="559451" y="4717170"/>
                <a:chExt cx="200387" cy="1394298"/>
              </a:xfrm>
            </p:grpSpPr>
            <p:pic>
              <p:nvPicPr>
                <p:cNvPr id="372" name="Picture Placeholder 10">
                  <a:extLst>
                    <a:ext uri="{FF2B5EF4-FFF2-40B4-BE49-F238E27FC236}">
                      <a16:creationId xmlns:a16="http://schemas.microsoft.com/office/drawing/2014/main" id="{D9E23257-8DB6-3144-85FD-6034449DC68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55945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3" name="Picture Placeholder 10">
                  <a:extLst>
                    <a:ext uri="{FF2B5EF4-FFF2-40B4-BE49-F238E27FC236}">
                      <a16:creationId xmlns:a16="http://schemas.microsoft.com/office/drawing/2014/main" id="{03805D22-11F3-A645-8E1B-760D82BC5E4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55945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4" name="Picture Placeholder 10">
                  <a:extLst>
                    <a:ext uri="{FF2B5EF4-FFF2-40B4-BE49-F238E27FC236}">
                      <a16:creationId xmlns:a16="http://schemas.microsoft.com/office/drawing/2014/main" id="{17722329-E81B-3740-A3B2-41DC385B625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55945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5" name="Picture Placeholder 10">
                  <a:extLst>
                    <a:ext uri="{FF2B5EF4-FFF2-40B4-BE49-F238E27FC236}">
                      <a16:creationId xmlns:a16="http://schemas.microsoft.com/office/drawing/2014/main" id="{96D89431-7689-2C45-9B54-2E40137CAC0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8"/>
                <a:stretch>
                  <a:fillRect/>
                </a:stretch>
              </p:blipFill>
              <p:spPr>
                <a:xfrm>
                  <a:off x="55945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76" name="Picture Placeholder 10">
                  <a:extLst>
                    <a:ext uri="{FF2B5EF4-FFF2-40B4-BE49-F238E27FC236}">
                      <a16:creationId xmlns:a16="http://schemas.microsoft.com/office/drawing/2014/main" id="{820CD000-A733-5747-9D0B-5AF08EB1DFD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597484" y="5989689"/>
                  <a:ext cx="121779" cy="121779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65" name="Group 364">
                <a:extLst>
                  <a:ext uri="{FF2B5EF4-FFF2-40B4-BE49-F238E27FC236}">
                    <a16:creationId xmlns:a16="http://schemas.microsoft.com/office/drawing/2014/main" id="{F5E37184-CC02-2740-9870-8DD78972C78A}"/>
                  </a:ext>
                </a:extLst>
              </p:cNvPr>
              <p:cNvGrpSpPr/>
              <p:nvPr userDrawn="1"/>
            </p:nvGrpSpPr>
            <p:grpSpPr>
              <a:xfrm>
                <a:off x="1126382" y="1744270"/>
                <a:ext cx="200387" cy="1111730"/>
                <a:chOff x="914311" y="4717170"/>
                <a:chExt cx="200387" cy="1111730"/>
              </a:xfrm>
            </p:grpSpPr>
            <p:pic>
              <p:nvPicPr>
                <p:cNvPr id="366" name="Picture Placeholder 10">
                  <a:extLst>
                    <a:ext uri="{FF2B5EF4-FFF2-40B4-BE49-F238E27FC236}">
                      <a16:creationId xmlns:a16="http://schemas.microsoft.com/office/drawing/2014/main" id="{1E0657A4-CD1F-2B4A-8A38-0790449205F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91431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7" name="Picture Placeholder 10">
                  <a:extLst>
                    <a:ext uri="{FF2B5EF4-FFF2-40B4-BE49-F238E27FC236}">
                      <a16:creationId xmlns:a16="http://schemas.microsoft.com/office/drawing/2014/main" id="{78877AF6-B614-6044-8AF5-E15C42BDC71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1431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8" name="Picture Placeholder 10">
                  <a:extLst>
                    <a:ext uri="{FF2B5EF4-FFF2-40B4-BE49-F238E27FC236}">
                      <a16:creationId xmlns:a16="http://schemas.microsoft.com/office/drawing/2014/main" id="{A3DA4A3D-EAD9-CF43-B6C3-4D791C008E9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91431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69" name="Picture Placeholder 10">
                  <a:extLst>
                    <a:ext uri="{FF2B5EF4-FFF2-40B4-BE49-F238E27FC236}">
                      <a16:creationId xmlns:a16="http://schemas.microsoft.com/office/drawing/2014/main" id="{EFAAE529-8F97-2449-8C8E-859FFFD4601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1431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pic>
          <p:nvPicPr>
            <p:cNvPr id="406" name="Picture Placeholder 10">
              <a:extLst>
                <a:ext uri="{FF2B5EF4-FFF2-40B4-BE49-F238E27FC236}">
                  <a16:creationId xmlns:a16="http://schemas.microsoft.com/office/drawing/2014/main" id="{BF87C17C-AA57-2648-99DB-68DC7C3850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4"/>
            <a:stretch>
              <a:fillRect/>
            </a:stretch>
          </p:blipFill>
          <p:spPr>
            <a:xfrm>
              <a:off x="3728886" y="2989357"/>
              <a:ext cx="121779" cy="12177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8" name="Picture Placeholder 10">
              <a:extLst>
                <a:ext uri="{FF2B5EF4-FFF2-40B4-BE49-F238E27FC236}">
                  <a16:creationId xmlns:a16="http://schemas.microsoft.com/office/drawing/2014/main" id="{13114133-8B59-FC4A-887E-B377FB0C3F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5"/>
            <a:stretch>
              <a:fillRect/>
            </a:stretch>
          </p:blipFill>
          <p:spPr>
            <a:xfrm>
              <a:off x="3747104" y="3296197"/>
              <a:ext cx="85344" cy="85344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411" name="Group 410">
            <a:extLst>
              <a:ext uri="{FF2B5EF4-FFF2-40B4-BE49-F238E27FC236}">
                <a16:creationId xmlns:a16="http://schemas.microsoft.com/office/drawing/2014/main" id="{B24FABB9-27F1-7B4A-A388-DD5076EBD99D}"/>
              </a:ext>
            </a:extLst>
          </p:cNvPr>
          <p:cNvGrpSpPr/>
          <p:nvPr userDrawn="1"/>
        </p:nvGrpSpPr>
        <p:grpSpPr>
          <a:xfrm>
            <a:off x="6239532" y="2088801"/>
            <a:ext cx="2959199" cy="1749736"/>
            <a:chOff x="6239532" y="1701615"/>
            <a:chExt cx="2959199" cy="1749736"/>
          </a:xfrm>
        </p:grpSpPr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8E3AF3C3-90C4-924D-9E7B-C69B43633AB1}"/>
                </a:ext>
              </a:extLst>
            </p:cNvPr>
            <p:cNvGrpSpPr/>
            <p:nvPr userDrawn="1"/>
          </p:nvGrpSpPr>
          <p:grpSpPr>
            <a:xfrm>
              <a:off x="6239532" y="1701615"/>
              <a:ext cx="2959199" cy="1749736"/>
              <a:chOff x="767975" y="1729047"/>
              <a:chExt cx="2959199" cy="1749736"/>
            </a:xfrm>
          </p:grpSpPr>
          <p:grpSp>
            <p:nvGrpSpPr>
              <p:cNvPr id="385" name="Group 384">
                <a:extLst>
                  <a:ext uri="{FF2B5EF4-FFF2-40B4-BE49-F238E27FC236}">
                    <a16:creationId xmlns:a16="http://schemas.microsoft.com/office/drawing/2014/main" id="{ADF01D4D-6810-1347-A874-41437CEB7C94}"/>
                  </a:ext>
                </a:extLst>
              </p:cNvPr>
              <p:cNvGrpSpPr/>
              <p:nvPr userDrawn="1"/>
            </p:nvGrpSpPr>
            <p:grpSpPr>
              <a:xfrm>
                <a:off x="1508434" y="1729047"/>
                <a:ext cx="2218740" cy="1749736"/>
                <a:chOff x="1589261" y="4701947"/>
                <a:chExt cx="1317896" cy="1749736"/>
              </a:xfrm>
            </p:grpSpPr>
            <p:sp>
              <p:nvSpPr>
                <p:cNvPr id="400" name="Rectangle 399">
                  <a:extLst>
                    <a:ext uri="{FF2B5EF4-FFF2-40B4-BE49-F238E27FC236}">
                      <a16:creationId xmlns:a16="http://schemas.microsoft.com/office/drawing/2014/main" id="{1D775F83-9CDB-2341-8935-44AD2DAF0645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Point of Interest</a:t>
                  </a:r>
                </a:p>
              </p:txBody>
            </p:sp>
            <p:sp>
              <p:nvSpPr>
                <p:cNvPr id="401" name="Rectangle 400">
                  <a:extLst>
                    <a:ext uri="{FF2B5EF4-FFF2-40B4-BE49-F238E27FC236}">
                      <a16:creationId xmlns:a16="http://schemas.microsoft.com/office/drawing/2014/main" id="{C8173769-0409-D940-A6A7-10EF1A3CF4AF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Gas Main</a:t>
                  </a:r>
                </a:p>
              </p:txBody>
            </p:sp>
            <p:sp>
              <p:nvSpPr>
                <p:cNvPr id="402" name="Rectangle 401">
                  <a:extLst>
                    <a:ext uri="{FF2B5EF4-FFF2-40B4-BE49-F238E27FC236}">
                      <a16:creationId xmlns:a16="http://schemas.microsoft.com/office/drawing/2014/main" id="{68B7D029-CA99-5946-8BA3-0508B1885D4E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Water Main</a:t>
                  </a:r>
                </a:p>
              </p:txBody>
            </p:sp>
            <p:sp>
              <p:nvSpPr>
                <p:cNvPr id="403" name="Rectangle 402">
                  <a:extLst>
                    <a:ext uri="{FF2B5EF4-FFF2-40B4-BE49-F238E27FC236}">
                      <a16:creationId xmlns:a16="http://schemas.microsoft.com/office/drawing/2014/main" id="{F8DDD0B8-2539-9246-934F-3CB6969A37C5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Sewer Main</a:t>
                  </a:r>
                </a:p>
              </p:txBody>
            </p:sp>
            <p:sp>
              <p:nvSpPr>
                <p:cNvPr id="404" name="Rectangle 403">
                  <a:extLst>
                    <a:ext uri="{FF2B5EF4-FFF2-40B4-BE49-F238E27FC236}">
                      <a16:creationId xmlns:a16="http://schemas.microsoft.com/office/drawing/2014/main" id="{B1A5ABF7-9E07-824E-BE7B-4B1FAF234EA7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Metro Stop</a:t>
                  </a:r>
                </a:p>
              </p:txBody>
            </p:sp>
            <p:sp>
              <p:nvSpPr>
                <p:cNvPr id="405" name="Rectangle 404">
                  <a:extLst>
                    <a:ext uri="{FF2B5EF4-FFF2-40B4-BE49-F238E27FC236}">
                      <a16:creationId xmlns:a16="http://schemas.microsoft.com/office/drawing/2014/main" id="{B1DF8583-9A4D-674A-BB65-9969C4D63C00}"/>
                    </a:ext>
                  </a:extLst>
                </p:cNvPr>
                <p:cNvSpPr/>
                <p:nvPr userDrawn="1"/>
              </p:nvSpPr>
              <p:spPr>
                <a:xfrm>
                  <a:off x="1589261" y="622085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VRE Stop</a:t>
                  </a:r>
                </a:p>
              </p:txBody>
            </p:sp>
          </p:grpSp>
          <p:grpSp>
            <p:nvGrpSpPr>
              <p:cNvPr id="386" name="Group 385">
                <a:extLst>
                  <a:ext uri="{FF2B5EF4-FFF2-40B4-BE49-F238E27FC236}">
                    <a16:creationId xmlns:a16="http://schemas.microsoft.com/office/drawing/2014/main" id="{41F54B3F-40D8-5C4D-9121-781A862DE6D4}"/>
                  </a:ext>
                </a:extLst>
              </p:cNvPr>
              <p:cNvGrpSpPr/>
              <p:nvPr userDrawn="1"/>
            </p:nvGrpSpPr>
            <p:grpSpPr>
              <a:xfrm>
                <a:off x="767975" y="1744270"/>
                <a:ext cx="260504" cy="1709644"/>
                <a:chOff x="529052" y="4717170"/>
                <a:chExt cx="260504" cy="1709644"/>
              </a:xfrm>
            </p:grpSpPr>
            <p:pic>
              <p:nvPicPr>
                <p:cNvPr id="394" name="Picture Placeholder 10">
                  <a:extLst>
                    <a:ext uri="{FF2B5EF4-FFF2-40B4-BE49-F238E27FC236}">
                      <a16:creationId xmlns:a16="http://schemas.microsoft.com/office/drawing/2014/main" id="{BCD3D741-6BED-4942-8589-D9E14EF8B70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6"/>
                <a:stretch>
                  <a:fillRect/>
                </a:stretch>
              </p:blipFill>
              <p:spPr>
                <a:xfrm>
                  <a:off x="55945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5" name="Picture Placeholder 10">
                  <a:extLst>
                    <a:ext uri="{FF2B5EF4-FFF2-40B4-BE49-F238E27FC236}">
                      <a16:creationId xmlns:a16="http://schemas.microsoft.com/office/drawing/2014/main" id="{9EA5A381-08CC-3746-8F87-9993A62C4EC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55945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6" name="Picture Placeholder 10">
                  <a:extLst>
                    <a:ext uri="{FF2B5EF4-FFF2-40B4-BE49-F238E27FC236}">
                      <a16:creationId xmlns:a16="http://schemas.microsoft.com/office/drawing/2014/main" id="{CF6FF145-57DB-1847-B24C-1BC5377A28F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8"/>
                <a:stretch>
                  <a:fillRect/>
                </a:stretch>
              </p:blipFill>
              <p:spPr>
                <a:xfrm>
                  <a:off x="55945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7" name="Picture Placeholder 10">
                  <a:extLst>
                    <a:ext uri="{FF2B5EF4-FFF2-40B4-BE49-F238E27FC236}">
                      <a16:creationId xmlns:a16="http://schemas.microsoft.com/office/drawing/2014/main" id="{3FEB3EA2-CD4A-2044-98AE-EF1B8922CCC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55945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8" name="Picture Placeholder 10">
                  <a:extLst>
                    <a:ext uri="{FF2B5EF4-FFF2-40B4-BE49-F238E27FC236}">
                      <a16:creationId xmlns:a16="http://schemas.microsoft.com/office/drawing/2014/main" id="{CA229116-A8B9-6747-8363-137CAAE1024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0"/>
                <a:stretch>
                  <a:fillRect/>
                </a:stretch>
              </p:blipFill>
              <p:spPr>
                <a:xfrm>
                  <a:off x="559451" y="5932294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9" name="Picture Placeholder 10">
                  <a:extLst>
                    <a:ext uri="{FF2B5EF4-FFF2-40B4-BE49-F238E27FC236}">
                      <a16:creationId xmlns:a16="http://schemas.microsoft.com/office/drawing/2014/main" id="{9FEB0E64-1913-B340-9552-80D5BDFE0B1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529052" y="6264000"/>
                  <a:ext cx="260504" cy="162814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  <p:grpSp>
            <p:nvGrpSpPr>
              <p:cNvPr id="387" name="Group 386">
                <a:extLst>
                  <a:ext uri="{FF2B5EF4-FFF2-40B4-BE49-F238E27FC236}">
                    <a16:creationId xmlns:a16="http://schemas.microsoft.com/office/drawing/2014/main" id="{CEDA0339-905F-D54F-BEAB-DBCE8B6944D9}"/>
                  </a:ext>
                </a:extLst>
              </p:cNvPr>
              <p:cNvGrpSpPr/>
              <p:nvPr userDrawn="1"/>
            </p:nvGrpSpPr>
            <p:grpSpPr>
              <a:xfrm>
                <a:off x="1126382" y="1744270"/>
                <a:ext cx="200387" cy="1415511"/>
                <a:chOff x="914311" y="4717170"/>
                <a:chExt cx="200387" cy="1415511"/>
              </a:xfrm>
            </p:grpSpPr>
            <p:pic>
              <p:nvPicPr>
                <p:cNvPr id="388" name="Picture Placeholder 10">
                  <a:extLst>
                    <a:ext uri="{FF2B5EF4-FFF2-40B4-BE49-F238E27FC236}">
                      <a16:creationId xmlns:a16="http://schemas.microsoft.com/office/drawing/2014/main" id="{16CF4A44-FD22-0741-923A-6132D075223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2"/>
                <a:stretch>
                  <a:fillRect/>
                </a:stretch>
              </p:blipFill>
              <p:spPr>
                <a:xfrm>
                  <a:off x="914311" y="4717170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89" name="Picture Placeholder 10">
                  <a:extLst>
                    <a:ext uri="{FF2B5EF4-FFF2-40B4-BE49-F238E27FC236}">
                      <a16:creationId xmlns:a16="http://schemas.microsoft.com/office/drawing/2014/main" id="{FB7B7E4B-D88B-7F44-93D1-7A37194E87C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14311" y="5020951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0" name="Picture Placeholder 10">
                  <a:extLst>
                    <a:ext uri="{FF2B5EF4-FFF2-40B4-BE49-F238E27FC236}">
                      <a16:creationId xmlns:a16="http://schemas.microsoft.com/office/drawing/2014/main" id="{4C5FDC8B-8E81-C045-9A14-78BD469854D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4"/>
                <a:stretch>
                  <a:fillRect/>
                </a:stretch>
              </p:blipFill>
              <p:spPr>
                <a:xfrm>
                  <a:off x="914311" y="5324732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1" name="Picture Placeholder 10">
                  <a:extLst>
                    <a:ext uri="{FF2B5EF4-FFF2-40B4-BE49-F238E27FC236}">
                      <a16:creationId xmlns:a16="http://schemas.microsoft.com/office/drawing/2014/main" id="{935AE4B5-6C12-7343-B242-672D0DBCC32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14311" y="5628513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392" name="Picture Placeholder 10">
                  <a:extLst>
                    <a:ext uri="{FF2B5EF4-FFF2-40B4-BE49-F238E27FC236}">
                      <a16:creationId xmlns:a16="http://schemas.microsoft.com/office/drawing/2014/main" id="{6DA9BEBC-23C3-2944-B5B1-91878FD8F80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914311" y="5932294"/>
                  <a:ext cx="200387" cy="200387"/>
                </a:xfrm>
                <a:prstGeom prst="rect">
                  <a:avLst/>
                </a:prstGeom>
                <a:ln>
                  <a:noFill/>
                </a:ln>
              </p:spPr>
            </p:pic>
          </p:grpSp>
        </p:grpSp>
        <p:pic>
          <p:nvPicPr>
            <p:cNvPr id="409" name="Picture Placeholder 10">
              <a:extLst>
                <a:ext uri="{FF2B5EF4-FFF2-40B4-BE49-F238E27FC236}">
                  <a16:creationId xmlns:a16="http://schemas.microsoft.com/office/drawing/2014/main" id="{914BB8FD-08EF-1844-86A9-7244F79968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7"/>
            <a:stretch>
              <a:fillRect/>
            </a:stretch>
          </p:blipFill>
          <p:spPr>
            <a:xfrm>
              <a:off x="6573420" y="3256651"/>
              <a:ext cx="260504" cy="158567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71B96224-1448-D046-A891-4DA1D0664605}"/>
              </a:ext>
            </a:extLst>
          </p:cNvPr>
          <p:cNvGrpSpPr/>
          <p:nvPr userDrawn="1"/>
        </p:nvGrpSpPr>
        <p:grpSpPr>
          <a:xfrm>
            <a:off x="3414549" y="4820319"/>
            <a:ext cx="3163990" cy="1445956"/>
            <a:chOff x="3360750" y="4820319"/>
            <a:chExt cx="3163990" cy="1445956"/>
          </a:xfrm>
        </p:grpSpPr>
        <p:grpSp>
          <p:nvGrpSpPr>
            <p:cNvPr id="413" name="Group 412">
              <a:extLst>
                <a:ext uri="{FF2B5EF4-FFF2-40B4-BE49-F238E27FC236}">
                  <a16:creationId xmlns:a16="http://schemas.microsoft.com/office/drawing/2014/main" id="{5351A100-664A-484E-97AA-C467ADE534D3}"/>
                </a:ext>
              </a:extLst>
            </p:cNvPr>
            <p:cNvGrpSpPr/>
            <p:nvPr userDrawn="1"/>
          </p:nvGrpSpPr>
          <p:grpSpPr>
            <a:xfrm>
              <a:off x="3360750" y="4820319"/>
              <a:ext cx="3163990" cy="1445956"/>
              <a:chOff x="3360750" y="4713225"/>
              <a:chExt cx="3163990" cy="1445956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C266A20-90D4-4246-A069-AEDFB3BF18F4}"/>
                  </a:ext>
                </a:extLst>
              </p:cNvPr>
              <p:cNvGrpSpPr/>
              <p:nvPr userDrawn="1"/>
            </p:nvGrpSpPr>
            <p:grpSpPr>
              <a:xfrm>
                <a:off x="4306000" y="4713225"/>
                <a:ext cx="2218740" cy="1445956"/>
                <a:chOff x="1589261" y="4701947"/>
                <a:chExt cx="1317896" cy="1445956"/>
              </a:xfrm>
            </p:grpSpPr>
            <p:sp>
              <p:nvSpPr>
                <p:cNvPr id="214" name="Rectangle 213">
                  <a:extLst>
                    <a:ext uri="{FF2B5EF4-FFF2-40B4-BE49-F238E27FC236}">
                      <a16:creationId xmlns:a16="http://schemas.microsoft.com/office/drawing/2014/main" id="{7CD86D2C-A654-CB45-9FC2-8C711C6062F7}"/>
                    </a:ext>
                  </a:extLst>
                </p:cNvPr>
                <p:cNvSpPr/>
                <p:nvPr userDrawn="1"/>
              </p:nvSpPr>
              <p:spPr>
                <a:xfrm>
                  <a:off x="1589261" y="4701947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us Line</a:t>
                  </a:r>
                </a:p>
              </p:txBody>
            </p:sp>
            <p:sp>
              <p:nvSpPr>
                <p:cNvPr id="210" name="Rectangle 209">
                  <a:extLst>
                    <a:ext uri="{FF2B5EF4-FFF2-40B4-BE49-F238E27FC236}">
                      <a16:creationId xmlns:a16="http://schemas.microsoft.com/office/drawing/2014/main" id="{27900609-7EC4-074F-8E20-33CCEADB377A}"/>
                    </a:ext>
                  </a:extLst>
                </p:cNvPr>
                <p:cNvSpPr/>
                <p:nvPr userDrawn="1"/>
              </p:nvSpPr>
              <p:spPr>
                <a:xfrm>
                  <a:off x="1589261" y="5005728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VRE Line</a:t>
                  </a:r>
                </a:p>
              </p:txBody>
            </p:sp>
            <p:sp>
              <p:nvSpPr>
                <p:cNvPr id="206" name="Rectangle 205">
                  <a:extLst>
                    <a:ext uri="{FF2B5EF4-FFF2-40B4-BE49-F238E27FC236}">
                      <a16:creationId xmlns:a16="http://schemas.microsoft.com/office/drawing/2014/main" id="{DB01D66F-869C-904A-AA22-686A66A2CF52}"/>
                    </a:ext>
                  </a:extLst>
                </p:cNvPr>
                <p:cNvSpPr/>
                <p:nvPr userDrawn="1"/>
              </p:nvSpPr>
              <p:spPr>
                <a:xfrm>
                  <a:off x="1589261" y="5309509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Metro Line</a:t>
                  </a:r>
                </a:p>
              </p:txBody>
            </p:sp>
            <p:sp>
              <p:nvSpPr>
                <p:cNvPr id="202" name="Rectangle 201">
                  <a:extLst>
                    <a:ext uri="{FF2B5EF4-FFF2-40B4-BE49-F238E27FC236}">
                      <a16:creationId xmlns:a16="http://schemas.microsoft.com/office/drawing/2014/main" id="{FCDE02D0-F27D-4D47-8541-17EE75BCF206}"/>
                    </a:ext>
                  </a:extLst>
                </p:cNvPr>
                <p:cNvSpPr/>
                <p:nvPr userDrawn="1"/>
              </p:nvSpPr>
              <p:spPr>
                <a:xfrm>
                  <a:off x="1589261" y="5613290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Bike Path</a:t>
                  </a:r>
                </a:p>
              </p:txBody>
            </p:sp>
            <p:sp>
              <p:nvSpPr>
                <p:cNvPr id="198" name="Rectangle 197">
                  <a:extLst>
                    <a:ext uri="{FF2B5EF4-FFF2-40B4-BE49-F238E27FC236}">
                      <a16:creationId xmlns:a16="http://schemas.microsoft.com/office/drawing/2014/main" id="{2DB80C2E-2001-0C48-9BE9-E279027C6108}"/>
                    </a:ext>
                  </a:extLst>
                </p:cNvPr>
                <p:cNvSpPr/>
                <p:nvPr userDrawn="1"/>
              </p:nvSpPr>
              <p:spPr>
                <a:xfrm>
                  <a:off x="1589261" y="5917071"/>
                  <a:ext cx="1317896" cy="230832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l"/>
                  <a:r>
                    <a:rPr lang="en-US" sz="900" b="0" i="0" dirty="0">
                      <a:solidFill>
                        <a:srgbClr val="003765"/>
                      </a:solidFill>
                      <a:latin typeface="Arial" charset="0"/>
                      <a:ea typeface="Arial" charset="0"/>
                      <a:cs typeface="Arial" charset="0"/>
                    </a:rPr>
                    <a:t>Foot Path</a:t>
                  </a:r>
                </a:p>
              </p:txBody>
            </p:sp>
          </p:grpSp>
          <p:grpSp>
            <p:nvGrpSpPr>
              <p:cNvPr id="283" name="Group 282">
                <a:extLst>
                  <a:ext uri="{FF2B5EF4-FFF2-40B4-BE49-F238E27FC236}">
                    <a16:creationId xmlns:a16="http://schemas.microsoft.com/office/drawing/2014/main" id="{C6E6AACD-ECFA-774A-88B8-33D487E2167C}"/>
                  </a:ext>
                </a:extLst>
              </p:cNvPr>
              <p:cNvGrpSpPr/>
              <p:nvPr userDrawn="1"/>
            </p:nvGrpSpPr>
            <p:grpSpPr>
              <a:xfrm>
                <a:off x="3360750" y="4736545"/>
                <a:ext cx="948926" cy="1404339"/>
                <a:chOff x="537897" y="4743075"/>
                <a:chExt cx="948926" cy="1404339"/>
              </a:xfrm>
            </p:grpSpPr>
            <p:grpSp>
              <p:nvGrpSpPr>
                <p:cNvPr id="284" name="Group 283">
                  <a:extLst>
                    <a:ext uri="{FF2B5EF4-FFF2-40B4-BE49-F238E27FC236}">
                      <a16:creationId xmlns:a16="http://schemas.microsoft.com/office/drawing/2014/main" id="{73B06920-1B55-EE48-A350-CADF0753B60B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4743075"/>
                  <a:ext cx="948926" cy="166808"/>
                  <a:chOff x="481617" y="4743075"/>
                  <a:chExt cx="948926" cy="166808"/>
                </a:xfrm>
              </p:grpSpPr>
              <p:pic>
                <p:nvPicPr>
                  <p:cNvPr id="297" name="Picture Placeholder 10">
                    <a:extLst>
                      <a:ext uri="{FF2B5EF4-FFF2-40B4-BE49-F238E27FC236}">
                        <a16:creationId xmlns:a16="http://schemas.microsoft.com/office/drawing/2014/main" id="{DA89EE01-6BDB-0B4C-9E16-BA4CDBA5EF0F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58"/>
                  <a:stretch>
                    <a:fillRect/>
                  </a:stretch>
                </p:blipFill>
                <p:spPr>
                  <a:xfrm>
                    <a:off x="481617" y="4743075"/>
                    <a:ext cx="414485" cy="165794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8" name="Picture Placeholder 10">
                    <a:extLst>
                      <a:ext uri="{FF2B5EF4-FFF2-40B4-BE49-F238E27FC236}">
                        <a16:creationId xmlns:a16="http://schemas.microsoft.com/office/drawing/2014/main" id="{A4BD4E68-91DC-7A43-8943-3235F2BD1DCE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59"/>
                  <a:stretch>
                    <a:fillRect/>
                  </a:stretch>
                </p:blipFill>
                <p:spPr>
                  <a:xfrm>
                    <a:off x="1016058" y="4744089"/>
                    <a:ext cx="414485" cy="165794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pic>
              <p:nvPicPr>
                <p:cNvPr id="295" name="Picture Placeholder 10">
                  <a:extLst>
                    <a:ext uri="{FF2B5EF4-FFF2-40B4-BE49-F238E27FC236}">
                      <a16:creationId xmlns:a16="http://schemas.microsoft.com/office/drawing/2014/main" id="{208AE4AC-BFF1-DD47-BF4D-8323D94EC7F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537897" y="5068966"/>
                  <a:ext cx="414485" cy="130266"/>
                </a:xfrm>
                <a:prstGeom prst="rect">
                  <a:avLst/>
                </a:prstGeom>
                <a:ln>
                  <a:noFill/>
                </a:ln>
              </p:spPr>
            </p:pic>
            <p:grpSp>
              <p:nvGrpSpPr>
                <p:cNvPr id="286" name="Group 285">
                  <a:extLst>
                    <a:ext uri="{FF2B5EF4-FFF2-40B4-BE49-F238E27FC236}">
                      <a16:creationId xmlns:a16="http://schemas.microsoft.com/office/drawing/2014/main" id="{AB2E5EA8-8B41-F147-B7B4-FAB027FFE75B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356891"/>
                  <a:ext cx="948926" cy="171684"/>
                  <a:chOff x="481617" y="4740637"/>
                  <a:chExt cx="948926" cy="171684"/>
                </a:xfrm>
              </p:grpSpPr>
              <p:pic>
                <p:nvPicPr>
                  <p:cNvPr id="293" name="Picture Placeholder 10">
                    <a:extLst>
                      <a:ext uri="{FF2B5EF4-FFF2-40B4-BE49-F238E27FC236}">
                        <a16:creationId xmlns:a16="http://schemas.microsoft.com/office/drawing/2014/main" id="{F772B230-6E1C-3A4F-BF2E-7C16C26C1D6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1"/>
                  <a:stretch>
                    <a:fillRect/>
                  </a:stretch>
                </p:blipFill>
                <p:spPr>
                  <a:xfrm>
                    <a:off x="481617" y="4740637"/>
                    <a:ext cx="414485" cy="170670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4" name="Picture Placeholder 10">
                    <a:extLst>
                      <a:ext uri="{FF2B5EF4-FFF2-40B4-BE49-F238E27FC236}">
                        <a16:creationId xmlns:a16="http://schemas.microsoft.com/office/drawing/2014/main" id="{0B965534-BA1C-AC46-9E4C-309867C52103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2"/>
                  <a:stretch>
                    <a:fillRect/>
                  </a:stretch>
                </p:blipFill>
                <p:spPr>
                  <a:xfrm>
                    <a:off x="1016058" y="4741651"/>
                    <a:ext cx="414485" cy="170670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grpSp>
              <p:nvGrpSpPr>
                <p:cNvPr id="287" name="Group 286">
                  <a:extLst>
                    <a:ext uri="{FF2B5EF4-FFF2-40B4-BE49-F238E27FC236}">
                      <a16:creationId xmlns:a16="http://schemas.microsoft.com/office/drawing/2014/main" id="{3160AD11-0723-BE4A-BCFC-CD1BFE78BF18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662432"/>
                  <a:ext cx="948926" cy="176856"/>
                  <a:chOff x="481617" y="4738051"/>
                  <a:chExt cx="948926" cy="176856"/>
                </a:xfrm>
              </p:grpSpPr>
              <p:pic>
                <p:nvPicPr>
                  <p:cNvPr id="291" name="Picture Placeholder 10">
                    <a:extLst>
                      <a:ext uri="{FF2B5EF4-FFF2-40B4-BE49-F238E27FC236}">
                        <a16:creationId xmlns:a16="http://schemas.microsoft.com/office/drawing/2014/main" id="{6686CF99-450D-6F49-8D29-6CA4F055594C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3"/>
                  <a:stretch>
                    <a:fillRect/>
                  </a:stretch>
                </p:blipFill>
                <p:spPr>
                  <a:xfrm>
                    <a:off x="481617" y="4738051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2" name="Picture Placeholder 10">
                    <a:extLst>
                      <a:ext uri="{FF2B5EF4-FFF2-40B4-BE49-F238E27FC236}">
                        <a16:creationId xmlns:a16="http://schemas.microsoft.com/office/drawing/2014/main" id="{6438E1BE-E49F-B44B-AFAE-93A4F867E2A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4"/>
                  <a:stretch>
                    <a:fillRect/>
                  </a:stretch>
                </p:blipFill>
                <p:spPr>
                  <a:xfrm>
                    <a:off x="1016058" y="4739065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  <p:grpSp>
              <p:nvGrpSpPr>
                <p:cNvPr id="288" name="Group 287">
                  <a:extLst>
                    <a:ext uri="{FF2B5EF4-FFF2-40B4-BE49-F238E27FC236}">
                      <a16:creationId xmlns:a16="http://schemas.microsoft.com/office/drawing/2014/main" id="{8D79C337-CF90-9841-8F95-00A3591A1D74}"/>
                    </a:ext>
                  </a:extLst>
                </p:cNvPr>
                <p:cNvGrpSpPr/>
                <p:nvPr userDrawn="1"/>
              </p:nvGrpSpPr>
              <p:grpSpPr>
                <a:xfrm>
                  <a:off x="537897" y="5970558"/>
                  <a:ext cx="948926" cy="176856"/>
                  <a:chOff x="481617" y="4738051"/>
                  <a:chExt cx="948926" cy="176856"/>
                </a:xfrm>
              </p:grpSpPr>
              <p:pic>
                <p:nvPicPr>
                  <p:cNvPr id="289" name="Picture Placeholder 10">
                    <a:extLst>
                      <a:ext uri="{FF2B5EF4-FFF2-40B4-BE49-F238E27FC236}">
                        <a16:creationId xmlns:a16="http://schemas.microsoft.com/office/drawing/2014/main" id="{D9356E8D-04CF-3745-9C66-8DEA02655732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5"/>
                  <a:stretch>
                    <a:fillRect/>
                  </a:stretch>
                </p:blipFill>
                <p:spPr>
                  <a:xfrm>
                    <a:off x="481617" y="4738051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  <p:pic>
                <p:nvPicPr>
                  <p:cNvPr id="290" name="Picture Placeholder 10">
                    <a:extLst>
                      <a:ext uri="{FF2B5EF4-FFF2-40B4-BE49-F238E27FC236}">
                        <a16:creationId xmlns:a16="http://schemas.microsoft.com/office/drawing/2014/main" id="{88F868C5-0818-1A4E-A8BA-378C0F0C827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66"/>
                  <a:stretch>
                    <a:fillRect/>
                  </a:stretch>
                </p:blipFill>
                <p:spPr>
                  <a:xfrm>
                    <a:off x="1016058" y="4739065"/>
                    <a:ext cx="414485" cy="175842"/>
                  </a:xfrm>
                  <a:prstGeom prst="rect">
                    <a:avLst/>
                  </a:prstGeom>
                  <a:ln>
                    <a:noFill/>
                  </a:ln>
                </p:spPr>
              </p:pic>
            </p:grpSp>
          </p:grpSp>
        </p:grpSp>
        <p:pic>
          <p:nvPicPr>
            <p:cNvPr id="417" name="Picture Placeholder 10">
              <a:extLst>
                <a:ext uri="{FF2B5EF4-FFF2-40B4-BE49-F238E27FC236}">
                  <a16:creationId xmlns:a16="http://schemas.microsoft.com/office/drawing/2014/main" id="{96ED309E-8948-5846-8C29-3B3BC28CA2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7"/>
            <a:stretch>
              <a:fillRect/>
            </a:stretch>
          </p:blipFill>
          <p:spPr>
            <a:xfrm>
              <a:off x="3889971" y="5169530"/>
              <a:ext cx="414482" cy="1302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8" name="Text Placeholder 20">
            <a:extLst>
              <a:ext uri="{FF2B5EF4-FFF2-40B4-BE49-F238E27FC236}">
                <a16:creationId xmlns:a16="http://schemas.microsoft.com/office/drawing/2014/main" id="{4390F2A5-2D76-CF4E-B9BA-CA4A00B91A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789" y="1584824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Icons</a:t>
            </a:r>
          </a:p>
        </p:txBody>
      </p:sp>
    </p:spTree>
    <p:extLst>
      <p:ext uri="{BB962C8B-B14F-4D97-AF65-F5344CB8AC3E}">
        <p14:creationId xmlns:p14="http://schemas.microsoft.com/office/powerpoint/2010/main" val="22058263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Map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Map icons</a:t>
            </a:r>
          </a:p>
        </p:txBody>
      </p:sp>
      <p:sp>
        <p:nvSpPr>
          <p:cNvPr id="186" name="Text Placeholder 20">
            <a:extLst>
              <a:ext uri="{FF2B5EF4-FFF2-40B4-BE49-F238E27FC236}">
                <a16:creationId xmlns:a16="http://schemas.microsoft.com/office/drawing/2014/main" id="{FD054202-0EF4-DC45-9F63-C031020F20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5818" y="3663815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operty Point Icons</a:t>
            </a:r>
          </a:p>
        </p:txBody>
      </p:sp>
      <p:sp>
        <p:nvSpPr>
          <p:cNvPr id="418" name="Text Placeholder 20">
            <a:extLst>
              <a:ext uri="{FF2B5EF4-FFF2-40B4-BE49-F238E27FC236}">
                <a16:creationId xmlns:a16="http://schemas.microsoft.com/office/drawing/2014/main" id="{4390F2A5-2D76-CF4E-B9BA-CA4A00B91A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789" y="1584824"/>
            <a:ext cx="1792731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mpass Indicator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4653A3F8-545D-0C4C-84BA-0B5D35EA7951}"/>
              </a:ext>
            </a:extLst>
          </p:cNvPr>
          <p:cNvGrpSpPr/>
          <p:nvPr userDrawn="1"/>
        </p:nvGrpSpPr>
        <p:grpSpPr>
          <a:xfrm>
            <a:off x="540386" y="4101422"/>
            <a:ext cx="4068314" cy="2164853"/>
            <a:chOff x="3596761" y="1829449"/>
            <a:chExt cx="4068314" cy="2164853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5CD273B0-620C-FB49-AEB6-54D7FEC6423E}"/>
                </a:ext>
              </a:extLst>
            </p:cNvPr>
            <p:cNvGrpSpPr/>
            <p:nvPr userDrawn="1"/>
          </p:nvGrpSpPr>
          <p:grpSpPr>
            <a:xfrm>
              <a:off x="3596761" y="2801693"/>
              <a:ext cx="4068314" cy="230832"/>
              <a:chOff x="3596761" y="2806878"/>
              <a:chExt cx="4068314" cy="230832"/>
            </a:xfrm>
          </p:grpSpPr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FA3D4481-D905-4D4A-BA1C-2D2274E2A95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3596761" y="2807994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9" name="Picture 188">
                <a:extLst>
                  <a:ext uri="{FF2B5EF4-FFF2-40B4-BE49-F238E27FC236}">
                    <a16:creationId xmlns:a16="http://schemas.microsoft.com/office/drawing/2014/main" id="{0E865AF2-E883-3D4B-8FCE-B4B736E4F39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4340527" y="2807994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90" name="Picture 189">
                <a:extLst>
                  <a:ext uri="{FF2B5EF4-FFF2-40B4-BE49-F238E27FC236}">
                    <a16:creationId xmlns:a16="http://schemas.microsoft.com/office/drawing/2014/main" id="{F1FA13C2-0684-8B4A-8C1E-9E1334913EA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5084295" y="2807994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91" name="Picture 190">
                <a:extLst>
                  <a:ext uri="{FF2B5EF4-FFF2-40B4-BE49-F238E27FC236}">
                    <a16:creationId xmlns:a16="http://schemas.microsoft.com/office/drawing/2014/main" id="{57FD9582-0606-6440-AA72-DE7F30EEE54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4712410" y="2807994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92" name="Picture 191">
                <a:extLst>
                  <a:ext uri="{FF2B5EF4-FFF2-40B4-BE49-F238E27FC236}">
                    <a16:creationId xmlns:a16="http://schemas.microsoft.com/office/drawing/2014/main" id="{4021ACA3-3EEA-EB4E-894D-3D5D847694D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/>
              <a:stretch>
                <a:fillRect/>
              </a:stretch>
            </p:blipFill>
            <p:spPr>
              <a:xfrm>
                <a:off x="3968644" y="2807994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2D8EA221-064C-7A43-9BE3-927F9D01E76D}"/>
                  </a:ext>
                </a:extLst>
              </p:cNvPr>
              <p:cNvSpPr/>
              <p:nvPr userDrawn="1"/>
            </p:nvSpPr>
            <p:spPr>
              <a:xfrm>
                <a:off x="5446335" y="2806878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erty Point Diamond</a:t>
                </a: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8D5D8D93-AF19-E345-9C0B-84916F025E32}"/>
                </a:ext>
              </a:extLst>
            </p:cNvPr>
            <p:cNvGrpSpPr/>
            <p:nvPr userDrawn="1"/>
          </p:nvGrpSpPr>
          <p:grpSpPr>
            <a:xfrm>
              <a:off x="3596761" y="3122285"/>
              <a:ext cx="4068314" cy="230832"/>
              <a:chOff x="3596761" y="3120767"/>
              <a:chExt cx="4068314" cy="230832"/>
            </a:xfrm>
          </p:grpSpPr>
          <p:pic>
            <p:nvPicPr>
              <p:cNvPr id="181" name="Picture 180">
                <a:extLst>
                  <a:ext uri="{FF2B5EF4-FFF2-40B4-BE49-F238E27FC236}">
                    <a16:creationId xmlns:a16="http://schemas.microsoft.com/office/drawing/2014/main" id="{C60C25FC-4D50-ED4B-9FD0-A3878FC4629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/>
              <a:stretch>
                <a:fillRect/>
              </a:stretch>
            </p:blipFill>
            <p:spPr>
              <a:xfrm>
                <a:off x="3596761" y="312188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2" name="Picture 181">
                <a:extLst>
                  <a:ext uri="{FF2B5EF4-FFF2-40B4-BE49-F238E27FC236}">
                    <a16:creationId xmlns:a16="http://schemas.microsoft.com/office/drawing/2014/main" id="{91B79317-BA08-0441-ABC3-B916EA8D7E2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4340527" y="312188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3" name="Picture 182">
                <a:extLst>
                  <a:ext uri="{FF2B5EF4-FFF2-40B4-BE49-F238E27FC236}">
                    <a16:creationId xmlns:a16="http://schemas.microsoft.com/office/drawing/2014/main" id="{F16B054F-57F1-BC43-AA69-56CE9390EA5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5084295" y="312188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4" name="Picture 183">
                <a:extLst>
                  <a:ext uri="{FF2B5EF4-FFF2-40B4-BE49-F238E27FC236}">
                    <a16:creationId xmlns:a16="http://schemas.microsoft.com/office/drawing/2014/main" id="{8A8D73C0-B06D-4D4E-8E5E-95C43EA06D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/>
              <a:stretch>
                <a:fillRect/>
              </a:stretch>
            </p:blipFill>
            <p:spPr>
              <a:xfrm>
                <a:off x="4712410" y="312188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5" name="Picture 184">
                <a:extLst>
                  <a:ext uri="{FF2B5EF4-FFF2-40B4-BE49-F238E27FC236}">
                    <a16:creationId xmlns:a16="http://schemas.microsoft.com/office/drawing/2014/main" id="{BA2B75F2-3287-4B45-8821-067AA885611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3968644" y="3121883"/>
                <a:ext cx="228600" cy="228600"/>
              </a:xfrm>
              <a:prstGeom prst="rect">
                <a:avLst/>
              </a:prstGeom>
            </p:spPr>
          </p:pic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5CC6B2A7-2407-E546-8D51-FE1916D0331F}"/>
                  </a:ext>
                </a:extLst>
              </p:cNvPr>
              <p:cNvSpPr/>
              <p:nvPr userDrawn="1"/>
            </p:nvSpPr>
            <p:spPr>
              <a:xfrm>
                <a:off x="5446335" y="3120767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Numbered Property Point Diamond</a:t>
                </a: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FAED4386-CDAC-8E40-982E-61779801DBA6}"/>
                </a:ext>
              </a:extLst>
            </p:cNvPr>
            <p:cNvGrpSpPr/>
            <p:nvPr userDrawn="1"/>
          </p:nvGrpSpPr>
          <p:grpSpPr>
            <a:xfrm>
              <a:off x="3634861" y="3442877"/>
              <a:ext cx="4030214" cy="230832"/>
              <a:chOff x="3634861" y="3440215"/>
              <a:chExt cx="4030214" cy="230832"/>
            </a:xfrm>
          </p:grpSpPr>
          <p:pic>
            <p:nvPicPr>
              <p:cNvPr id="175" name="Picture 174">
                <a:extLst>
                  <a:ext uri="{FF2B5EF4-FFF2-40B4-BE49-F238E27FC236}">
                    <a16:creationId xmlns:a16="http://schemas.microsoft.com/office/drawing/2014/main" id="{FDC94313-3D7B-1143-8471-EEA6E303D8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3634861" y="3479431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6" name="Picture 175">
                <a:extLst>
                  <a:ext uri="{FF2B5EF4-FFF2-40B4-BE49-F238E27FC236}">
                    <a16:creationId xmlns:a16="http://schemas.microsoft.com/office/drawing/2014/main" id="{EE29EDC3-C3B3-924A-AF23-494C98FD057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3"/>
              <a:stretch>
                <a:fillRect/>
              </a:stretch>
            </p:blipFill>
            <p:spPr>
              <a:xfrm>
                <a:off x="4378627" y="3479431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7" name="Picture 176">
                <a:extLst>
                  <a:ext uri="{FF2B5EF4-FFF2-40B4-BE49-F238E27FC236}">
                    <a16:creationId xmlns:a16="http://schemas.microsoft.com/office/drawing/2014/main" id="{8FE619FE-08EF-1C42-BF30-8F53C1024A4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/>
              <a:stretch>
                <a:fillRect/>
              </a:stretch>
            </p:blipFill>
            <p:spPr>
              <a:xfrm>
                <a:off x="5122395" y="3479431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8" name="Picture 177">
                <a:extLst>
                  <a:ext uri="{FF2B5EF4-FFF2-40B4-BE49-F238E27FC236}">
                    <a16:creationId xmlns:a16="http://schemas.microsoft.com/office/drawing/2014/main" id="{4F9ED6BF-FADB-A64F-B444-F574716457B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5"/>
              <a:stretch>
                <a:fillRect/>
              </a:stretch>
            </p:blipFill>
            <p:spPr>
              <a:xfrm>
                <a:off x="4750510" y="3479431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9" name="Picture 178">
                <a:extLst>
                  <a:ext uri="{FF2B5EF4-FFF2-40B4-BE49-F238E27FC236}">
                    <a16:creationId xmlns:a16="http://schemas.microsoft.com/office/drawing/2014/main" id="{6F907894-BB62-DB44-83A4-1E645F0B39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6"/>
              <a:stretch>
                <a:fillRect/>
              </a:stretch>
            </p:blipFill>
            <p:spPr>
              <a:xfrm>
                <a:off x="4006744" y="3479431"/>
                <a:ext cx="152400" cy="152400"/>
              </a:xfrm>
              <a:prstGeom prst="rect">
                <a:avLst/>
              </a:prstGeom>
            </p:spPr>
          </p:pic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34F1007B-45B6-4D45-8A37-ED48F24A8D6D}"/>
                  </a:ext>
                </a:extLst>
              </p:cNvPr>
              <p:cNvSpPr/>
              <p:nvPr userDrawn="1"/>
            </p:nvSpPr>
            <p:spPr>
              <a:xfrm>
                <a:off x="5446335" y="3440215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erty Point Circle</a:t>
                </a:r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90B70A42-9BFA-A442-872C-EDA7E31881A7}"/>
                </a:ext>
              </a:extLst>
            </p:cNvPr>
            <p:cNvGrpSpPr/>
            <p:nvPr userDrawn="1"/>
          </p:nvGrpSpPr>
          <p:grpSpPr>
            <a:xfrm>
              <a:off x="3634861" y="2160509"/>
              <a:ext cx="4030214" cy="230832"/>
              <a:chOff x="3634861" y="2157663"/>
              <a:chExt cx="4030214" cy="230832"/>
            </a:xfrm>
          </p:grpSpPr>
          <p:pic>
            <p:nvPicPr>
              <p:cNvPr id="169" name="Picture 168">
                <a:extLst>
                  <a:ext uri="{FF2B5EF4-FFF2-40B4-BE49-F238E27FC236}">
                    <a16:creationId xmlns:a16="http://schemas.microsoft.com/office/drawing/2014/main" id="{94887EEA-8636-4A4D-AFA1-60B309813C1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7"/>
              <a:stretch>
                <a:fillRect/>
              </a:stretch>
            </p:blipFill>
            <p:spPr>
              <a:xfrm>
                <a:off x="3634861" y="2196879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0" name="Picture 169">
                <a:extLst>
                  <a:ext uri="{FF2B5EF4-FFF2-40B4-BE49-F238E27FC236}">
                    <a16:creationId xmlns:a16="http://schemas.microsoft.com/office/drawing/2014/main" id="{2E63D7F4-2A19-FD41-8B24-1B773FFE97A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8"/>
              <a:stretch>
                <a:fillRect/>
              </a:stretch>
            </p:blipFill>
            <p:spPr>
              <a:xfrm>
                <a:off x="4378627" y="2196879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1" name="Picture 170">
                <a:extLst>
                  <a:ext uri="{FF2B5EF4-FFF2-40B4-BE49-F238E27FC236}">
                    <a16:creationId xmlns:a16="http://schemas.microsoft.com/office/drawing/2014/main" id="{28EC951C-3274-8F46-B8B1-90F3AF16585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9"/>
              <a:stretch>
                <a:fillRect/>
              </a:stretch>
            </p:blipFill>
            <p:spPr>
              <a:xfrm>
                <a:off x="5122395" y="2196879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2" name="Picture 171">
                <a:extLst>
                  <a:ext uri="{FF2B5EF4-FFF2-40B4-BE49-F238E27FC236}">
                    <a16:creationId xmlns:a16="http://schemas.microsoft.com/office/drawing/2014/main" id="{1894897A-B6EF-294C-9D26-57D6014D75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4750510" y="2196879"/>
                <a:ext cx="152400" cy="152400"/>
              </a:xfrm>
              <a:prstGeom prst="rect">
                <a:avLst/>
              </a:prstGeom>
            </p:spPr>
          </p:pic>
          <p:pic>
            <p:nvPicPr>
              <p:cNvPr id="173" name="Picture 172">
                <a:extLst>
                  <a:ext uri="{FF2B5EF4-FFF2-40B4-BE49-F238E27FC236}">
                    <a16:creationId xmlns:a16="http://schemas.microsoft.com/office/drawing/2014/main" id="{5523B63D-8B92-1C41-9F43-B9CA4097298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4006744" y="2196879"/>
                <a:ext cx="152400" cy="152400"/>
              </a:xfrm>
              <a:prstGeom prst="rect">
                <a:avLst/>
              </a:prstGeom>
            </p:spPr>
          </p:pic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58BCFB26-39FE-D542-BAC7-D67100143E50}"/>
                  </a:ext>
                </a:extLst>
              </p:cNvPr>
              <p:cNvSpPr/>
              <p:nvPr userDrawn="1"/>
            </p:nvSpPr>
            <p:spPr>
              <a:xfrm>
                <a:off x="5446335" y="2157663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erty Points Square</a:t>
                </a: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2EBDBBC7-FB8F-7B40-B00C-D92D09B53728}"/>
                </a:ext>
              </a:extLst>
            </p:cNvPr>
            <p:cNvGrpSpPr/>
            <p:nvPr userDrawn="1"/>
          </p:nvGrpSpPr>
          <p:grpSpPr>
            <a:xfrm>
              <a:off x="3628511" y="1829449"/>
              <a:ext cx="4036564" cy="241300"/>
              <a:chOff x="3628511" y="1829449"/>
              <a:chExt cx="4036564" cy="241300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F1203CFD-31BF-6843-B3A3-84792E1B3D0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3628511" y="1829449"/>
                <a:ext cx="165100" cy="241300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F2CB0B16-441E-D34A-97B5-1DD8FD667C5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4372277" y="1829449"/>
                <a:ext cx="165100" cy="241300"/>
              </a:xfrm>
              <a:prstGeom prst="rect">
                <a:avLst/>
              </a:prstGeom>
            </p:spPr>
          </p:pic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7F58BA1B-8337-714C-863A-34D2386DFC1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4"/>
              <a:stretch>
                <a:fillRect/>
              </a:stretch>
            </p:blipFill>
            <p:spPr>
              <a:xfrm>
                <a:off x="5116045" y="1829449"/>
                <a:ext cx="165100" cy="241300"/>
              </a:xfrm>
              <a:prstGeom prst="rect">
                <a:avLst/>
              </a:prstGeom>
            </p:spPr>
          </p:pic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03A1A2B5-564D-F145-B47E-B2EA47C8AC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4744160" y="1829449"/>
                <a:ext cx="165100" cy="241300"/>
              </a:xfrm>
              <a:prstGeom prst="rect">
                <a:avLst/>
              </a:prstGeom>
            </p:spPr>
          </p:pic>
          <p:pic>
            <p:nvPicPr>
              <p:cNvPr id="167" name="Picture 166">
                <a:extLst>
                  <a:ext uri="{FF2B5EF4-FFF2-40B4-BE49-F238E27FC236}">
                    <a16:creationId xmlns:a16="http://schemas.microsoft.com/office/drawing/2014/main" id="{F93B403E-692A-EE42-BC3F-2CA4ADEEBDF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4000394" y="1829449"/>
                <a:ext cx="165100" cy="241300"/>
              </a:xfrm>
              <a:prstGeom prst="rect">
                <a:avLst/>
              </a:prstGeom>
            </p:spPr>
          </p:pic>
          <p:sp>
            <p:nvSpPr>
              <p:cNvPr id="168" name="Rectangle 167">
                <a:extLst>
                  <a:ext uri="{FF2B5EF4-FFF2-40B4-BE49-F238E27FC236}">
                    <a16:creationId xmlns:a16="http://schemas.microsoft.com/office/drawing/2014/main" id="{38CE6C18-B0C4-2F44-A527-05F136C571A4}"/>
                  </a:ext>
                </a:extLst>
              </p:cNvPr>
              <p:cNvSpPr/>
              <p:nvPr userDrawn="1"/>
            </p:nvSpPr>
            <p:spPr>
              <a:xfrm>
                <a:off x="5446335" y="1834683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Single Selected Primary Property Point</a:t>
                </a: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80995DAF-91A5-7048-8C3A-0DCC0F2C77E7}"/>
                </a:ext>
              </a:extLst>
            </p:cNvPr>
            <p:cNvGrpSpPr/>
            <p:nvPr userDrawn="1"/>
          </p:nvGrpSpPr>
          <p:grpSpPr>
            <a:xfrm>
              <a:off x="3634861" y="2481101"/>
              <a:ext cx="4030214" cy="230832"/>
              <a:chOff x="3634861" y="2480918"/>
              <a:chExt cx="4030214" cy="230832"/>
            </a:xfrm>
          </p:grpSpPr>
          <p:pic>
            <p:nvPicPr>
              <p:cNvPr id="157" name="Picture 156">
                <a:extLst>
                  <a:ext uri="{FF2B5EF4-FFF2-40B4-BE49-F238E27FC236}">
                    <a16:creationId xmlns:a16="http://schemas.microsoft.com/office/drawing/2014/main" id="{8D78C7A9-CE4A-8E46-9DD7-F2D4C505E4F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3634861" y="2507434"/>
                <a:ext cx="152400" cy="177800"/>
              </a:xfrm>
              <a:prstGeom prst="rect">
                <a:avLst/>
              </a:prstGeom>
            </p:spPr>
          </p:pic>
          <p:pic>
            <p:nvPicPr>
              <p:cNvPr id="158" name="Picture 157">
                <a:extLst>
                  <a:ext uri="{FF2B5EF4-FFF2-40B4-BE49-F238E27FC236}">
                    <a16:creationId xmlns:a16="http://schemas.microsoft.com/office/drawing/2014/main" id="{A4332196-7CAF-FD4B-8EDA-9BE7EA6D210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4378627" y="2507434"/>
                <a:ext cx="152400" cy="177800"/>
              </a:xfrm>
              <a:prstGeom prst="rect">
                <a:avLst/>
              </a:prstGeom>
            </p:spPr>
          </p:pic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7B0F5BD4-55D0-9449-9A4B-9647325B4FD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9"/>
              <a:stretch>
                <a:fillRect/>
              </a:stretch>
            </p:blipFill>
            <p:spPr>
              <a:xfrm>
                <a:off x="5122395" y="2507434"/>
                <a:ext cx="152400" cy="177800"/>
              </a:xfrm>
              <a:prstGeom prst="rect">
                <a:avLst/>
              </a:prstGeom>
            </p:spPr>
          </p:pic>
          <p:pic>
            <p:nvPicPr>
              <p:cNvPr id="160" name="Picture 159">
                <a:extLst>
                  <a:ext uri="{FF2B5EF4-FFF2-40B4-BE49-F238E27FC236}">
                    <a16:creationId xmlns:a16="http://schemas.microsoft.com/office/drawing/2014/main" id="{81799900-D382-5946-A36B-931C339198F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0"/>
              <a:stretch>
                <a:fillRect/>
              </a:stretch>
            </p:blipFill>
            <p:spPr>
              <a:xfrm>
                <a:off x="4750510" y="2507434"/>
                <a:ext cx="152400" cy="177800"/>
              </a:xfrm>
              <a:prstGeom prst="rect">
                <a:avLst/>
              </a:prstGeom>
            </p:spPr>
          </p:pic>
          <p:pic>
            <p:nvPicPr>
              <p:cNvPr id="161" name="Picture 160">
                <a:extLst>
                  <a:ext uri="{FF2B5EF4-FFF2-40B4-BE49-F238E27FC236}">
                    <a16:creationId xmlns:a16="http://schemas.microsoft.com/office/drawing/2014/main" id="{A8697519-EAB1-CD42-B0B3-CD1A8994814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1"/>
              <a:stretch>
                <a:fillRect/>
              </a:stretch>
            </p:blipFill>
            <p:spPr>
              <a:xfrm>
                <a:off x="4006744" y="2507434"/>
                <a:ext cx="152400" cy="177800"/>
              </a:xfrm>
              <a:prstGeom prst="rect">
                <a:avLst/>
              </a:prstGeom>
            </p:spPr>
          </p:pic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B52880D5-EA57-2C49-BC5A-0B5329909425}"/>
                  </a:ext>
                </a:extLst>
              </p:cNvPr>
              <p:cNvSpPr/>
              <p:nvPr userDrawn="1"/>
            </p:nvSpPr>
            <p:spPr>
              <a:xfrm>
                <a:off x="5446335" y="2480918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Numbered Property Point Square</a:t>
                </a:r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39A76D94-CC50-114E-9799-69B17F71C65A}"/>
                </a:ext>
              </a:extLst>
            </p:cNvPr>
            <p:cNvGrpSpPr/>
            <p:nvPr userDrawn="1"/>
          </p:nvGrpSpPr>
          <p:grpSpPr>
            <a:xfrm>
              <a:off x="3634861" y="3763470"/>
              <a:ext cx="4030214" cy="230832"/>
              <a:chOff x="3634861" y="3763470"/>
              <a:chExt cx="4030214" cy="230832"/>
            </a:xfrm>
          </p:grpSpPr>
          <p:pic>
            <p:nvPicPr>
              <p:cNvPr id="151" name="Picture 150">
                <a:extLst>
                  <a:ext uri="{FF2B5EF4-FFF2-40B4-BE49-F238E27FC236}">
                    <a16:creationId xmlns:a16="http://schemas.microsoft.com/office/drawing/2014/main" id="{674EED78-19E3-8C45-AA48-52A2C7925A9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2"/>
              <a:stretch>
                <a:fillRect/>
              </a:stretch>
            </p:blipFill>
            <p:spPr>
              <a:xfrm>
                <a:off x="3634861" y="3796336"/>
                <a:ext cx="152400" cy="165100"/>
              </a:xfrm>
              <a:prstGeom prst="rect">
                <a:avLst/>
              </a:prstGeom>
            </p:spPr>
          </p:pic>
          <p:pic>
            <p:nvPicPr>
              <p:cNvPr id="152" name="Picture 151">
                <a:extLst>
                  <a:ext uri="{FF2B5EF4-FFF2-40B4-BE49-F238E27FC236}">
                    <a16:creationId xmlns:a16="http://schemas.microsoft.com/office/drawing/2014/main" id="{98A1E226-624A-3A4E-9911-2DA029A18D4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3"/>
              <a:stretch>
                <a:fillRect/>
              </a:stretch>
            </p:blipFill>
            <p:spPr>
              <a:xfrm>
                <a:off x="4378627" y="3796336"/>
                <a:ext cx="152400" cy="165100"/>
              </a:xfrm>
              <a:prstGeom prst="rect">
                <a:avLst/>
              </a:prstGeom>
            </p:spPr>
          </p:pic>
          <p:pic>
            <p:nvPicPr>
              <p:cNvPr id="153" name="Picture 152">
                <a:extLst>
                  <a:ext uri="{FF2B5EF4-FFF2-40B4-BE49-F238E27FC236}">
                    <a16:creationId xmlns:a16="http://schemas.microsoft.com/office/drawing/2014/main" id="{81C3A30D-820D-BF46-A31F-4430EB7D17E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4"/>
              <a:stretch>
                <a:fillRect/>
              </a:stretch>
            </p:blipFill>
            <p:spPr>
              <a:xfrm>
                <a:off x="5122395" y="3796336"/>
                <a:ext cx="152400" cy="165100"/>
              </a:xfrm>
              <a:prstGeom prst="rect">
                <a:avLst/>
              </a:prstGeom>
            </p:spPr>
          </p:pic>
          <p:pic>
            <p:nvPicPr>
              <p:cNvPr id="154" name="Picture 153">
                <a:extLst>
                  <a:ext uri="{FF2B5EF4-FFF2-40B4-BE49-F238E27FC236}">
                    <a16:creationId xmlns:a16="http://schemas.microsoft.com/office/drawing/2014/main" id="{70322A00-FD01-DE4B-9EFE-AF38771DE11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5"/>
              <a:stretch>
                <a:fillRect/>
              </a:stretch>
            </p:blipFill>
            <p:spPr>
              <a:xfrm>
                <a:off x="4750510" y="3796336"/>
                <a:ext cx="152400" cy="165100"/>
              </a:xfrm>
              <a:prstGeom prst="rect">
                <a:avLst/>
              </a:prstGeom>
            </p:spPr>
          </p:pic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2DB43EAA-CEB0-A04F-A96C-FCC9174135C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6"/>
              <a:stretch>
                <a:fillRect/>
              </a:stretch>
            </p:blipFill>
            <p:spPr>
              <a:xfrm>
                <a:off x="4006744" y="3796336"/>
                <a:ext cx="152400" cy="165100"/>
              </a:xfrm>
              <a:prstGeom prst="rect">
                <a:avLst/>
              </a:prstGeom>
            </p:spPr>
          </p:pic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6CFB8CA1-9EEE-6C4A-8975-6B3E68F63C3F}"/>
                  </a:ext>
                </a:extLst>
              </p:cNvPr>
              <p:cNvSpPr/>
              <p:nvPr userDrawn="1"/>
            </p:nvSpPr>
            <p:spPr>
              <a:xfrm>
                <a:off x="5446335" y="376347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Numbered Property Point Circle</a:t>
                </a:r>
              </a:p>
            </p:txBody>
          </p:sp>
        </p:grpSp>
      </p:grpSp>
      <p:sp>
        <p:nvSpPr>
          <p:cNvPr id="194" name="Text Placeholder 20">
            <a:extLst>
              <a:ext uri="{FF2B5EF4-FFF2-40B4-BE49-F238E27FC236}">
                <a16:creationId xmlns:a16="http://schemas.microsoft.com/office/drawing/2014/main" id="{43FD4DA1-383F-2441-9CEB-8DB51FA0D6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30670" y="3674410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xisting/Proposed Route Lin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81B0BBB-5F19-BB44-85D5-DB2F3F2EC01D}"/>
              </a:ext>
            </a:extLst>
          </p:cNvPr>
          <p:cNvGrpSpPr/>
          <p:nvPr userDrawn="1"/>
        </p:nvGrpSpPr>
        <p:grpSpPr>
          <a:xfrm>
            <a:off x="5426014" y="4108011"/>
            <a:ext cx="2828930" cy="2158264"/>
            <a:chOff x="6153437" y="4106656"/>
            <a:chExt cx="2828930" cy="2158264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4694980-1E03-274E-BF64-6E810655DFF4}"/>
                </a:ext>
              </a:extLst>
            </p:cNvPr>
            <p:cNvGrpSpPr/>
            <p:nvPr userDrawn="1"/>
          </p:nvGrpSpPr>
          <p:grpSpPr>
            <a:xfrm>
              <a:off x="6763627" y="4106656"/>
              <a:ext cx="2218740" cy="358176"/>
              <a:chOff x="6757348" y="4106656"/>
              <a:chExt cx="2218740" cy="358176"/>
            </a:xfrm>
          </p:grpSpPr>
          <p:sp>
            <p:nvSpPr>
              <p:cNvPr id="226" name="Rectangle 225">
                <a:extLst>
                  <a:ext uri="{FF2B5EF4-FFF2-40B4-BE49-F238E27FC236}">
                    <a16:creationId xmlns:a16="http://schemas.microsoft.com/office/drawing/2014/main" id="{CA9778BC-2802-3E4A-8992-FDC4C047DB88}"/>
                  </a:ext>
                </a:extLst>
              </p:cNvPr>
              <p:cNvSpPr/>
              <p:nvPr userDrawn="1"/>
            </p:nvSpPr>
            <p:spPr>
              <a:xfrm>
                <a:off x="6757348" y="410665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Interstate</a:t>
                </a:r>
              </a:p>
            </p:txBody>
          </p:sp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98322641-31BA-EE45-87FC-C02431F636E8}"/>
                  </a:ext>
                </a:extLst>
              </p:cNvPr>
              <p:cNvSpPr/>
              <p:nvPr userDrawn="1"/>
            </p:nvSpPr>
            <p:spPr>
              <a:xfrm>
                <a:off x="6757348" y="423400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Interstate</a:t>
                </a:r>
              </a:p>
            </p:txBody>
          </p:sp>
        </p:grp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35879D0B-488C-F246-8C4A-15D0EF654052}"/>
                </a:ext>
              </a:extLst>
            </p:cNvPr>
            <p:cNvGrpSpPr/>
            <p:nvPr userDrawn="1"/>
          </p:nvGrpSpPr>
          <p:grpSpPr>
            <a:xfrm>
              <a:off x="6763627" y="4466674"/>
              <a:ext cx="2218740" cy="358176"/>
              <a:chOff x="6757348" y="4106656"/>
              <a:chExt cx="2218740" cy="358176"/>
            </a:xfrm>
          </p:grpSpPr>
          <p:sp>
            <p:nvSpPr>
              <p:cNvPr id="267" name="Rectangle 266">
                <a:extLst>
                  <a:ext uri="{FF2B5EF4-FFF2-40B4-BE49-F238E27FC236}">
                    <a16:creationId xmlns:a16="http://schemas.microsoft.com/office/drawing/2014/main" id="{0CAF5709-C209-A346-9350-2EE48A1E09DA}"/>
                  </a:ext>
                </a:extLst>
              </p:cNvPr>
              <p:cNvSpPr/>
              <p:nvPr userDrawn="1"/>
            </p:nvSpPr>
            <p:spPr>
              <a:xfrm>
                <a:off x="6757348" y="410665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Highway</a:t>
                </a:r>
              </a:p>
            </p:txBody>
          </p:sp>
          <p:sp>
            <p:nvSpPr>
              <p:cNvPr id="285" name="Rectangle 284">
                <a:extLst>
                  <a:ext uri="{FF2B5EF4-FFF2-40B4-BE49-F238E27FC236}">
                    <a16:creationId xmlns:a16="http://schemas.microsoft.com/office/drawing/2014/main" id="{8B5B8BA8-3AF6-0F4D-A52B-5A68E40B3E30}"/>
                  </a:ext>
                </a:extLst>
              </p:cNvPr>
              <p:cNvSpPr/>
              <p:nvPr userDrawn="1"/>
            </p:nvSpPr>
            <p:spPr>
              <a:xfrm>
                <a:off x="6757348" y="423400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Highway</a:t>
                </a:r>
              </a:p>
            </p:txBody>
          </p:sp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74BC793D-F985-8E40-83EF-969AB91E374E}"/>
                </a:ext>
              </a:extLst>
            </p:cNvPr>
            <p:cNvGrpSpPr/>
            <p:nvPr userDrawn="1"/>
          </p:nvGrpSpPr>
          <p:grpSpPr>
            <a:xfrm>
              <a:off x="6763627" y="4826692"/>
              <a:ext cx="2218740" cy="358176"/>
              <a:chOff x="6757348" y="4106656"/>
              <a:chExt cx="2218740" cy="358176"/>
            </a:xfrm>
          </p:grpSpPr>
          <p:sp>
            <p:nvSpPr>
              <p:cNvPr id="315" name="Rectangle 314">
                <a:extLst>
                  <a:ext uri="{FF2B5EF4-FFF2-40B4-BE49-F238E27FC236}">
                    <a16:creationId xmlns:a16="http://schemas.microsoft.com/office/drawing/2014/main" id="{D85E2914-109B-5A41-A37C-3F933BAC11D4}"/>
                  </a:ext>
                </a:extLst>
              </p:cNvPr>
              <p:cNvSpPr/>
              <p:nvPr userDrawn="1"/>
            </p:nvSpPr>
            <p:spPr>
              <a:xfrm>
                <a:off x="6757348" y="410665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Local Road</a:t>
                </a:r>
              </a:p>
            </p:txBody>
          </p:sp>
          <p:sp>
            <p:nvSpPr>
              <p:cNvPr id="317" name="Rectangle 316">
                <a:extLst>
                  <a:ext uri="{FF2B5EF4-FFF2-40B4-BE49-F238E27FC236}">
                    <a16:creationId xmlns:a16="http://schemas.microsoft.com/office/drawing/2014/main" id="{AC4370B0-1608-0F47-9A1E-56F445FEA558}"/>
                  </a:ext>
                </a:extLst>
              </p:cNvPr>
              <p:cNvSpPr/>
              <p:nvPr userDrawn="1"/>
            </p:nvSpPr>
            <p:spPr>
              <a:xfrm>
                <a:off x="6757348" y="423400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Local Road</a:t>
                </a:r>
              </a:p>
            </p:txBody>
          </p:sp>
        </p:grp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A927813D-8ADF-AD4B-9499-8664B28EBF1B}"/>
                </a:ext>
              </a:extLst>
            </p:cNvPr>
            <p:cNvGrpSpPr/>
            <p:nvPr userDrawn="1"/>
          </p:nvGrpSpPr>
          <p:grpSpPr>
            <a:xfrm>
              <a:off x="6763627" y="5186710"/>
              <a:ext cx="2218740" cy="358176"/>
              <a:chOff x="6757348" y="4106656"/>
              <a:chExt cx="2218740" cy="358176"/>
            </a:xfrm>
          </p:grpSpPr>
          <p:sp>
            <p:nvSpPr>
              <p:cNvPr id="340" name="Rectangle 339">
                <a:extLst>
                  <a:ext uri="{FF2B5EF4-FFF2-40B4-BE49-F238E27FC236}">
                    <a16:creationId xmlns:a16="http://schemas.microsoft.com/office/drawing/2014/main" id="{17D62880-7923-244E-93C4-B53680317401}"/>
                  </a:ext>
                </a:extLst>
              </p:cNvPr>
              <p:cNvSpPr/>
              <p:nvPr userDrawn="1"/>
            </p:nvSpPr>
            <p:spPr>
              <a:xfrm>
                <a:off x="6757348" y="410665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Rail</a:t>
                </a:r>
              </a:p>
            </p:txBody>
          </p:sp>
          <p:sp>
            <p:nvSpPr>
              <p:cNvPr id="341" name="Rectangle 340">
                <a:extLst>
                  <a:ext uri="{FF2B5EF4-FFF2-40B4-BE49-F238E27FC236}">
                    <a16:creationId xmlns:a16="http://schemas.microsoft.com/office/drawing/2014/main" id="{09DC325F-B24B-0B49-961E-B1CA48EF35AD}"/>
                  </a:ext>
                </a:extLst>
              </p:cNvPr>
              <p:cNvSpPr/>
              <p:nvPr userDrawn="1"/>
            </p:nvSpPr>
            <p:spPr>
              <a:xfrm>
                <a:off x="6757348" y="423400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Rail</a:t>
                </a:r>
              </a:p>
            </p:txBody>
          </p:sp>
        </p:grp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E9D0B5CD-38C2-2346-9EDC-247CAB1403E2}"/>
                </a:ext>
              </a:extLst>
            </p:cNvPr>
            <p:cNvGrpSpPr/>
            <p:nvPr userDrawn="1"/>
          </p:nvGrpSpPr>
          <p:grpSpPr>
            <a:xfrm>
              <a:off x="6763627" y="5906744"/>
              <a:ext cx="2218740" cy="358176"/>
              <a:chOff x="6757348" y="4123132"/>
              <a:chExt cx="2218740" cy="358176"/>
            </a:xfrm>
          </p:grpSpPr>
          <p:sp>
            <p:nvSpPr>
              <p:cNvPr id="343" name="Rectangle 342">
                <a:extLst>
                  <a:ext uri="{FF2B5EF4-FFF2-40B4-BE49-F238E27FC236}">
                    <a16:creationId xmlns:a16="http://schemas.microsoft.com/office/drawing/2014/main" id="{0AFAEE97-7184-2C43-B517-06B7F4BD4D92}"/>
                  </a:ext>
                </a:extLst>
              </p:cNvPr>
              <p:cNvSpPr/>
              <p:nvPr userDrawn="1"/>
            </p:nvSpPr>
            <p:spPr>
              <a:xfrm>
                <a:off x="6757348" y="4123132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Bike/Footpath</a:t>
                </a:r>
              </a:p>
            </p:txBody>
          </p:sp>
          <p:sp>
            <p:nvSpPr>
              <p:cNvPr id="344" name="Rectangle 343">
                <a:extLst>
                  <a:ext uri="{FF2B5EF4-FFF2-40B4-BE49-F238E27FC236}">
                    <a16:creationId xmlns:a16="http://schemas.microsoft.com/office/drawing/2014/main" id="{970B626B-6C36-AC4A-835A-9F189A11EE58}"/>
                  </a:ext>
                </a:extLst>
              </p:cNvPr>
              <p:cNvSpPr/>
              <p:nvPr userDrawn="1"/>
            </p:nvSpPr>
            <p:spPr>
              <a:xfrm>
                <a:off x="6757348" y="425047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Bike/Footpath</a:t>
                </a:r>
              </a:p>
            </p:txBody>
          </p: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250224C1-10E8-3A4D-BE69-024C4F03A765}"/>
                </a:ext>
              </a:extLst>
            </p:cNvPr>
            <p:cNvGrpSpPr/>
            <p:nvPr userDrawn="1"/>
          </p:nvGrpSpPr>
          <p:grpSpPr>
            <a:xfrm>
              <a:off x="6763627" y="5546728"/>
              <a:ext cx="2218740" cy="358176"/>
              <a:chOff x="6757348" y="4106656"/>
              <a:chExt cx="2218740" cy="358176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33C1C165-EC34-F24D-827A-2CB1F905836C}"/>
                  </a:ext>
                </a:extLst>
              </p:cNvPr>
              <p:cNvSpPr/>
              <p:nvPr userDrawn="1"/>
            </p:nvSpPr>
            <p:spPr>
              <a:xfrm>
                <a:off x="6757348" y="4106656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xisting Mass Transit</a:t>
                </a:r>
              </a:p>
            </p:txBody>
          </p:sp>
          <p:sp>
            <p:nvSpPr>
              <p:cNvPr id="347" name="Rectangle 346">
                <a:extLst>
                  <a:ext uri="{FF2B5EF4-FFF2-40B4-BE49-F238E27FC236}">
                    <a16:creationId xmlns:a16="http://schemas.microsoft.com/office/drawing/2014/main" id="{816192D6-4519-5044-9953-DF5745792653}"/>
                  </a:ext>
                </a:extLst>
              </p:cNvPr>
              <p:cNvSpPr/>
              <p:nvPr userDrawn="1"/>
            </p:nvSpPr>
            <p:spPr>
              <a:xfrm>
                <a:off x="6757348" y="423400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roposed Mass Transit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DC3CCBD-A6F2-7D4E-B3E5-016E1D48C96E}"/>
                </a:ext>
              </a:extLst>
            </p:cNvPr>
            <p:cNvGrpSpPr/>
            <p:nvPr userDrawn="1"/>
          </p:nvGrpSpPr>
          <p:grpSpPr>
            <a:xfrm>
              <a:off x="6153437" y="4190663"/>
              <a:ext cx="451174" cy="1967049"/>
              <a:chOff x="6153437" y="4190663"/>
              <a:chExt cx="451174" cy="1967049"/>
            </a:xfrm>
          </p:grpSpPr>
          <p:pic>
            <p:nvPicPr>
              <p:cNvPr id="421" name="Picture 420">
                <a:extLst>
                  <a:ext uri="{FF2B5EF4-FFF2-40B4-BE49-F238E27FC236}">
                    <a16:creationId xmlns:a16="http://schemas.microsoft.com/office/drawing/2014/main" id="{E0EA6E57-9559-2C4A-9DE2-36705D0E1B8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7"/>
              <a:stretch>
                <a:fillRect/>
              </a:stretch>
            </p:blipFill>
            <p:spPr>
              <a:xfrm>
                <a:off x="6172811" y="6018012"/>
                <a:ext cx="431800" cy="139700"/>
              </a:xfrm>
              <a:prstGeom prst="rect">
                <a:avLst/>
              </a:prstGeom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1AC463FE-D4B8-8A4E-B6C0-DF2EDB027C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8"/>
              <a:stretch>
                <a:fillRect/>
              </a:stretch>
            </p:blipFill>
            <p:spPr>
              <a:xfrm>
                <a:off x="6167377" y="5657994"/>
                <a:ext cx="431800" cy="139700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DC2D5351-089B-8C47-8DF8-0EDB6C63EC9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9"/>
              <a:stretch>
                <a:fillRect/>
              </a:stretch>
            </p:blipFill>
            <p:spPr>
              <a:xfrm>
                <a:off x="6160358" y="5291628"/>
                <a:ext cx="431800" cy="139700"/>
              </a:xfrm>
              <a:prstGeom prst="rect">
                <a:avLst/>
              </a:prstGeom>
            </p:spPr>
          </p:pic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C723F7AC-202F-E74E-A95C-673855E666C4}"/>
                  </a:ext>
                </a:extLst>
              </p:cNvPr>
              <p:cNvGrpSpPr/>
              <p:nvPr userDrawn="1"/>
            </p:nvGrpSpPr>
            <p:grpSpPr>
              <a:xfrm>
                <a:off x="6158051" y="4190663"/>
                <a:ext cx="434107" cy="190162"/>
                <a:chOff x="6158051" y="4179076"/>
                <a:chExt cx="434107" cy="190162"/>
              </a:xfrm>
            </p:grpSpPr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400F0525-145E-8A4C-941A-C856C0845B4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0"/>
                <a:stretch>
                  <a:fillRect/>
                </a:stretch>
              </p:blipFill>
              <p:spPr>
                <a:xfrm>
                  <a:off x="6160358" y="4179076"/>
                  <a:ext cx="431800" cy="63500"/>
                </a:xfrm>
                <a:prstGeom prst="rect">
                  <a:avLst/>
                </a:prstGeom>
              </p:spPr>
            </p:pic>
            <p:pic>
              <p:nvPicPr>
                <p:cNvPr id="353" name="Picture 352">
                  <a:extLst>
                    <a:ext uri="{FF2B5EF4-FFF2-40B4-BE49-F238E27FC236}">
                      <a16:creationId xmlns:a16="http://schemas.microsoft.com/office/drawing/2014/main" id="{062861EF-C586-2D45-A7C9-1C79B0B5131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6158051" y="4305738"/>
                  <a:ext cx="431800" cy="63500"/>
                </a:xfrm>
                <a:prstGeom prst="rect">
                  <a:avLst/>
                </a:prstGeom>
              </p:spPr>
            </p:pic>
          </p:grpSp>
          <p:grpSp>
            <p:nvGrpSpPr>
              <p:cNvPr id="354" name="Group 353">
                <a:extLst>
                  <a:ext uri="{FF2B5EF4-FFF2-40B4-BE49-F238E27FC236}">
                    <a16:creationId xmlns:a16="http://schemas.microsoft.com/office/drawing/2014/main" id="{6F2E6007-67C0-C04B-94B2-DE932628DCC4}"/>
                  </a:ext>
                </a:extLst>
              </p:cNvPr>
              <p:cNvGrpSpPr/>
              <p:nvPr userDrawn="1"/>
            </p:nvGrpSpPr>
            <p:grpSpPr>
              <a:xfrm>
                <a:off x="6159204" y="4563381"/>
                <a:ext cx="434107" cy="164762"/>
                <a:chOff x="6158051" y="4191776"/>
                <a:chExt cx="434107" cy="164762"/>
              </a:xfrm>
            </p:grpSpPr>
            <p:pic>
              <p:nvPicPr>
                <p:cNvPr id="355" name="Picture 354">
                  <a:extLst>
                    <a:ext uri="{FF2B5EF4-FFF2-40B4-BE49-F238E27FC236}">
                      <a16:creationId xmlns:a16="http://schemas.microsoft.com/office/drawing/2014/main" id="{D02E9D78-4263-9643-B33A-1DB645D3919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2"/>
                <a:stretch>
                  <a:fillRect/>
                </a:stretch>
              </p:blipFill>
              <p:spPr>
                <a:xfrm>
                  <a:off x="6160358" y="4191776"/>
                  <a:ext cx="431800" cy="38100"/>
                </a:xfrm>
                <a:prstGeom prst="rect">
                  <a:avLst/>
                </a:prstGeom>
              </p:spPr>
            </p:pic>
            <p:pic>
              <p:nvPicPr>
                <p:cNvPr id="356" name="Picture 355">
                  <a:extLst>
                    <a:ext uri="{FF2B5EF4-FFF2-40B4-BE49-F238E27FC236}">
                      <a16:creationId xmlns:a16="http://schemas.microsoft.com/office/drawing/2014/main" id="{30E705ED-9AA5-634C-A33D-3D89CD92467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6158051" y="4318438"/>
                  <a:ext cx="431800" cy="38100"/>
                </a:xfrm>
                <a:prstGeom prst="rect">
                  <a:avLst/>
                </a:prstGeom>
              </p:spPr>
            </p:pic>
          </p:grpSp>
          <p:grpSp>
            <p:nvGrpSpPr>
              <p:cNvPr id="357" name="Group 356">
                <a:extLst>
                  <a:ext uri="{FF2B5EF4-FFF2-40B4-BE49-F238E27FC236}">
                    <a16:creationId xmlns:a16="http://schemas.microsoft.com/office/drawing/2014/main" id="{1D6A1BCD-8F2C-E945-812E-65E6ADC4843F}"/>
                  </a:ext>
                </a:extLst>
              </p:cNvPr>
              <p:cNvGrpSpPr/>
              <p:nvPr userDrawn="1"/>
            </p:nvGrpSpPr>
            <p:grpSpPr>
              <a:xfrm>
                <a:off x="6153437" y="4923399"/>
                <a:ext cx="434107" cy="164762"/>
                <a:chOff x="6158051" y="4191776"/>
                <a:chExt cx="434107" cy="164762"/>
              </a:xfrm>
            </p:grpSpPr>
            <p:pic>
              <p:nvPicPr>
                <p:cNvPr id="358" name="Picture 357">
                  <a:extLst>
                    <a:ext uri="{FF2B5EF4-FFF2-40B4-BE49-F238E27FC236}">
                      <a16:creationId xmlns:a16="http://schemas.microsoft.com/office/drawing/2014/main" id="{DE6C4532-637C-2C45-8673-87E2D180319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4"/>
                <a:stretch>
                  <a:fillRect/>
                </a:stretch>
              </p:blipFill>
              <p:spPr>
                <a:xfrm>
                  <a:off x="6160358" y="4191776"/>
                  <a:ext cx="431800" cy="38100"/>
                </a:xfrm>
                <a:prstGeom prst="rect">
                  <a:avLst/>
                </a:prstGeom>
              </p:spPr>
            </p:pic>
            <p:pic>
              <p:nvPicPr>
                <p:cNvPr id="359" name="Picture 358">
                  <a:extLst>
                    <a:ext uri="{FF2B5EF4-FFF2-40B4-BE49-F238E27FC236}">
                      <a16:creationId xmlns:a16="http://schemas.microsoft.com/office/drawing/2014/main" id="{65723DB0-D92A-C94B-8D88-2FB080DFB90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6158051" y="4318438"/>
                  <a:ext cx="431800" cy="38100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22" name="Text Placeholder 20">
            <a:extLst>
              <a:ext uri="{FF2B5EF4-FFF2-40B4-BE49-F238E27FC236}">
                <a16:creationId xmlns:a16="http://schemas.microsoft.com/office/drawing/2014/main" id="{028AE2F8-9A74-8F44-8FCA-C06191ADE2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79438" y="1609329"/>
            <a:ext cx="1189072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all Out Line</a:t>
            </a:r>
          </a:p>
        </p:txBody>
      </p:sp>
      <p:sp>
        <p:nvSpPr>
          <p:cNvPr id="423" name="Text Placeholder 20">
            <a:extLst>
              <a:ext uri="{FF2B5EF4-FFF2-40B4-BE49-F238E27FC236}">
                <a16:creationId xmlns:a16="http://schemas.microsoft.com/office/drawing/2014/main" id="{CC11CD96-BE95-8444-B03F-96802BAA6C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33341" y="1547701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operty Outline</a:t>
            </a:r>
          </a:p>
        </p:txBody>
      </p:sp>
      <p:sp>
        <p:nvSpPr>
          <p:cNvPr id="424" name="Text Placeholder 20">
            <a:extLst>
              <a:ext uri="{FF2B5EF4-FFF2-40B4-BE49-F238E27FC236}">
                <a16:creationId xmlns:a16="http://schemas.microsoft.com/office/drawing/2014/main" id="{C63DD090-C501-3442-A6C9-F97B7F5B95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5818" y="2627200"/>
            <a:ext cx="3104203" cy="3037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 b="1" i="0" u="none" baseline="0">
                <a:solidFill>
                  <a:srgbClr val="05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Map Scale Indicator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599936F-DF80-6545-A504-557BC43696C0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578486" y="1926764"/>
            <a:ext cx="342900" cy="4699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DCEE23B-982C-E942-B3A3-88D213C68E93}"/>
              </a:ext>
            </a:extLst>
          </p:cNvPr>
          <p:cNvPicPr>
            <a:picLocks noChangeAspect="1"/>
          </p:cNvPicPr>
          <p:nvPr userDrawn="1"/>
        </p:nvPicPr>
        <p:blipFill>
          <a:blip r:embed="rId47"/>
          <a:stretch>
            <a:fillRect/>
          </a:stretch>
        </p:blipFill>
        <p:spPr>
          <a:xfrm>
            <a:off x="1093652" y="2004961"/>
            <a:ext cx="381000" cy="381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61D4448-C04E-0349-BA48-211C50166B2E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2504990" y="1943005"/>
            <a:ext cx="369455" cy="3810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D7860DF-CD9F-0C42-A2A9-A44E9B61A9B3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578486" y="3004055"/>
            <a:ext cx="2387600" cy="520700"/>
          </a:xfrm>
          <a:prstGeom prst="rect">
            <a:avLst/>
          </a:prstGeom>
        </p:spPr>
      </p:pic>
      <p:cxnSp>
        <p:nvCxnSpPr>
          <p:cNvPr id="425" name="Straight Connector 424">
            <a:extLst>
              <a:ext uri="{FF2B5EF4-FFF2-40B4-BE49-F238E27FC236}">
                <a16:creationId xmlns:a16="http://schemas.microsoft.com/office/drawing/2014/main" id="{F2F5019F-0898-9044-B084-BF143B4D359B}"/>
              </a:ext>
            </a:extLst>
          </p:cNvPr>
          <p:cNvCxnSpPr>
            <a:cxnSpLocks/>
          </p:cNvCxnSpPr>
          <p:nvPr userDrawn="1"/>
        </p:nvCxnSpPr>
        <p:spPr>
          <a:xfrm>
            <a:off x="4903644" y="1424796"/>
            <a:ext cx="0" cy="505803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FA50724B-8263-134A-BA73-F22E90771275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5432954" y="1954707"/>
            <a:ext cx="12065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6603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Miscellaneous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MISCELLANEOUS icons</a:t>
            </a:r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5AFC8A84-7BBA-E543-B01E-D30F989C2CCA}"/>
              </a:ext>
            </a:extLst>
          </p:cNvPr>
          <p:cNvGrpSpPr/>
          <p:nvPr userDrawn="1"/>
        </p:nvGrpSpPr>
        <p:grpSpPr>
          <a:xfrm>
            <a:off x="532681" y="1824654"/>
            <a:ext cx="2949257" cy="4109894"/>
            <a:chOff x="532681" y="1824654"/>
            <a:chExt cx="2949257" cy="4109894"/>
          </a:xfrm>
        </p:grpSpPr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99F8D8FB-456D-4E43-A242-3AEFB0A0505D}"/>
                </a:ext>
              </a:extLst>
            </p:cNvPr>
            <p:cNvGrpSpPr/>
            <p:nvPr userDrawn="1"/>
          </p:nvGrpSpPr>
          <p:grpSpPr>
            <a:xfrm>
              <a:off x="539031" y="5693248"/>
              <a:ext cx="2942907" cy="241300"/>
              <a:chOff x="539031" y="5478563"/>
              <a:chExt cx="2942907" cy="241300"/>
            </a:xfrm>
          </p:grpSpPr>
          <p:sp>
            <p:nvSpPr>
              <p:cNvPr id="181" name="Rectangle 180">
                <a:extLst>
                  <a:ext uri="{FF2B5EF4-FFF2-40B4-BE49-F238E27FC236}">
                    <a16:creationId xmlns:a16="http://schemas.microsoft.com/office/drawing/2014/main" id="{D76820AB-F48F-7A44-88C2-205F1361B089}"/>
                  </a:ext>
                </a:extLst>
              </p:cNvPr>
              <p:cNvSpPr/>
              <p:nvPr userDrawn="1"/>
            </p:nvSpPr>
            <p:spPr>
              <a:xfrm>
                <a:off x="1263198" y="5483797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lay</a:t>
                </a:r>
              </a:p>
            </p:txBody>
          </p:sp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9030927D-5162-074E-865A-90540814566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897480" y="5478563"/>
                <a:ext cx="241300" cy="241300"/>
              </a:xfrm>
              <a:prstGeom prst="rect">
                <a:avLst/>
              </a:prstGeom>
            </p:spPr>
          </p:pic>
          <p:pic>
            <p:nvPicPr>
              <p:cNvPr id="129" name="Picture 128">
                <a:extLst>
                  <a:ext uri="{FF2B5EF4-FFF2-40B4-BE49-F238E27FC236}">
                    <a16:creationId xmlns:a16="http://schemas.microsoft.com/office/drawing/2014/main" id="{DA3AF233-C9EE-6741-A3BE-F79FE88B5F0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539031" y="5484913"/>
                <a:ext cx="228600" cy="228600"/>
              </a:xfrm>
              <a:prstGeom prst="rect">
                <a:avLst/>
              </a:prstGeom>
            </p:spPr>
          </p:pic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C95173F2-328C-A441-ABF2-119910C2635B}"/>
                </a:ext>
              </a:extLst>
            </p:cNvPr>
            <p:cNvGrpSpPr/>
            <p:nvPr userDrawn="1"/>
          </p:nvGrpSpPr>
          <p:grpSpPr>
            <a:xfrm>
              <a:off x="532681" y="4400226"/>
              <a:ext cx="2949257" cy="241300"/>
              <a:chOff x="532681" y="4262530"/>
              <a:chExt cx="2949257" cy="241300"/>
            </a:xfrm>
          </p:grpSpPr>
          <p:sp>
            <p:nvSpPr>
              <p:cNvPr id="161" name="Rectangle 160">
                <a:extLst>
                  <a:ext uri="{FF2B5EF4-FFF2-40B4-BE49-F238E27FC236}">
                    <a16:creationId xmlns:a16="http://schemas.microsoft.com/office/drawing/2014/main" id="{0C816A23-4813-A847-BB16-98C030FE36ED}"/>
                  </a:ext>
                </a:extLst>
              </p:cNvPr>
              <p:cNvSpPr/>
              <p:nvPr userDrawn="1"/>
            </p:nvSpPr>
            <p:spPr>
              <a:xfrm>
                <a:off x="1263198" y="4267764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Business Costs</a:t>
                </a:r>
              </a:p>
            </p:txBody>
          </p: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A55DED86-B85B-1648-8800-4F1E8423B08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903830" y="4268880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84EE6B5-7C06-F14A-A9E5-940C01B3A87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532681" y="4262530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FEF50FAC-B95C-5E4A-A329-CAF7927C90A8}"/>
                </a:ext>
              </a:extLst>
            </p:cNvPr>
            <p:cNvGrpSpPr/>
            <p:nvPr userDrawn="1"/>
          </p:nvGrpSpPr>
          <p:grpSpPr>
            <a:xfrm>
              <a:off x="532681" y="2794419"/>
              <a:ext cx="2949257" cy="241300"/>
              <a:chOff x="532681" y="2713288"/>
              <a:chExt cx="2949257" cy="241300"/>
            </a:xfrm>
          </p:grpSpPr>
          <p:sp>
            <p:nvSpPr>
              <p:cNvPr id="335" name="Rectangle 334">
                <a:extLst>
                  <a:ext uri="{FF2B5EF4-FFF2-40B4-BE49-F238E27FC236}">
                    <a16:creationId xmlns:a16="http://schemas.microsoft.com/office/drawing/2014/main" id="{0956DAB1-C127-9744-9F47-85062E1A21DE}"/>
                  </a:ext>
                </a:extLst>
              </p:cNvPr>
              <p:cNvSpPr/>
              <p:nvPr userDrawn="1"/>
            </p:nvSpPr>
            <p:spPr>
              <a:xfrm>
                <a:off x="1263198" y="2718522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Capital Investment</a:t>
                </a:r>
              </a:p>
            </p:txBody>
          </p: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AF8E7D6B-F14A-7F4C-B7BC-A09F4A3B036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/>
              <a:stretch>
                <a:fillRect/>
              </a:stretch>
            </p:blipFill>
            <p:spPr>
              <a:xfrm>
                <a:off x="903830" y="2719638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C418AED5-BBAB-5A40-8337-3F0A392E80D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/>
              <a:stretch>
                <a:fillRect/>
              </a:stretch>
            </p:blipFill>
            <p:spPr>
              <a:xfrm>
                <a:off x="532681" y="2713288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30F593E0-19DC-4C46-BB3D-821E9ADF8BC5}"/>
                </a:ext>
              </a:extLst>
            </p:cNvPr>
            <p:cNvGrpSpPr/>
            <p:nvPr userDrawn="1"/>
          </p:nvGrpSpPr>
          <p:grpSpPr>
            <a:xfrm>
              <a:off x="539031" y="3117674"/>
              <a:ext cx="2942907" cy="230832"/>
              <a:chOff x="539031" y="3023578"/>
              <a:chExt cx="2942907" cy="230832"/>
            </a:xfrm>
          </p:grpSpPr>
          <p:sp>
            <p:nvSpPr>
              <p:cNvPr id="336" name="Rectangle 335">
                <a:extLst>
                  <a:ext uri="{FF2B5EF4-FFF2-40B4-BE49-F238E27FC236}">
                    <a16:creationId xmlns:a16="http://schemas.microsoft.com/office/drawing/2014/main" id="{0ACD1D53-57DE-584E-A1BD-71E6DE1575E8}"/>
                  </a:ext>
                </a:extLst>
              </p:cNvPr>
              <p:cNvSpPr/>
              <p:nvPr userDrawn="1"/>
            </p:nvSpPr>
            <p:spPr>
              <a:xfrm>
                <a:off x="1263198" y="3023578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Events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E0C3ECE9-576B-4F4C-9954-E405B34E691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8"/>
              <a:stretch>
                <a:fillRect/>
              </a:stretch>
            </p:blipFill>
            <p:spPr>
              <a:xfrm>
                <a:off x="910180" y="3031044"/>
                <a:ext cx="215900" cy="215900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E5607DE6-5613-C647-AC46-C96F2105FEB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9"/>
              <a:stretch>
                <a:fillRect/>
              </a:stretch>
            </p:blipFill>
            <p:spPr>
              <a:xfrm>
                <a:off x="539031" y="3024694"/>
                <a:ext cx="228600" cy="228600"/>
              </a:xfrm>
              <a:prstGeom prst="rect">
                <a:avLst/>
              </a:prstGeom>
            </p:spPr>
          </p:pic>
        </p:grp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3303A903-7476-4C43-A230-A3FAED6B18A2}"/>
                </a:ext>
              </a:extLst>
            </p:cNvPr>
            <p:cNvGrpSpPr/>
            <p:nvPr userDrawn="1"/>
          </p:nvGrpSpPr>
          <p:grpSpPr>
            <a:xfrm>
              <a:off x="532681" y="5046736"/>
              <a:ext cx="2949257" cy="241300"/>
              <a:chOff x="532681" y="4854145"/>
              <a:chExt cx="2949257" cy="241300"/>
            </a:xfrm>
          </p:grpSpPr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1D28C558-AA82-EE49-90AD-C482612D551A}"/>
                  </a:ext>
                </a:extLst>
              </p:cNvPr>
              <p:cNvSpPr/>
              <p:nvPr userDrawn="1"/>
            </p:nvSpPr>
            <p:spPr>
              <a:xfrm>
                <a:off x="1263198" y="4859379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novation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9485D75B-5FFA-8E4E-A65A-8DA27203EB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/>
              <a:stretch>
                <a:fillRect/>
              </a:stretch>
            </p:blipFill>
            <p:spPr>
              <a:xfrm>
                <a:off x="903830" y="4860495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E8289A77-B614-2E40-991F-7ACCBD925E1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/>
              <a:stretch>
                <a:fillRect/>
              </a:stretch>
            </p:blipFill>
            <p:spPr>
              <a:xfrm>
                <a:off x="532681" y="4854145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3CD08625-F90A-F946-87F3-0492A72773AF}"/>
                </a:ext>
              </a:extLst>
            </p:cNvPr>
            <p:cNvGrpSpPr/>
            <p:nvPr userDrawn="1"/>
          </p:nvGrpSpPr>
          <p:grpSpPr>
            <a:xfrm>
              <a:off x="532681" y="3430461"/>
              <a:ext cx="2949257" cy="241300"/>
              <a:chOff x="532681" y="3319173"/>
              <a:chExt cx="2949257" cy="241300"/>
            </a:xfrm>
          </p:grpSpPr>
          <p:sp>
            <p:nvSpPr>
              <p:cNvPr id="337" name="Rectangle 336">
                <a:extLst>
                  <a:ext uri="{FF2B5EF4-FFF2-40B4-BE49-F238E27FC236}">
                    <a16:creationId xmlns:a16="http://schemas.microsoft.com/office/drawing/2014/main" id="{BB525A99-2538-544B-8C81-D1FF4D390341}"/>
                  </a:ext>
                </a:extLst>
              </p:cNvPr>
              <p:cNvSpPr/>
              <p:nvPr userDrawn="1"/>
            </p:nvSpPr>
            <p:spPr>
              <a:xfrm>
                <a:off x="1263198" y="3324407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Jobs/Workforce</a:t>
                </a:r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25254D07-A7B1-9B45-8E35-D251B478CC7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/>
              <a:stretch>
                <a:fillRect/>
              </a:stretch>
            </p:blipFill>
            <p:spPr>
              <a:xfrm>
                <a:off x="903830" y="332552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4B1621B6-E9BA-EA40-8CC3-CE13693CA70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3"/>
              <a:stretch>
                <a:fillRect/>
              </a:stretch>
            </p:blipFill>
            <p:spPr>
              <a:xfrm>
                <a:off x="532681" y="3319173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1E80AB11-98F7-9647-913E-5A5B74C1AD55}"/>
                </a:ext>
              </a:extLst>
            </p:cNvPr>
            <p:cNvGrpSpPr/>
            <p:nvPr userDrawn="1"/>
          </p:nvGrpSpPr>
          <p:grpSpPr>
            <a:xfrm>
              <a:off x="532681" y="5369991"/>
              <a:ext cx="2949257" cy="241300"/>
              <a:chOff x="532681" y="5161865"/>
              <a:chExt cx="2949257" cy="241300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E470CD28-3EA9-F642-9288-96BC2999F498}"/>
                  </a:ext>
                </a:extLst>
              </p:cNvPr>
              <p:cNvSpPr/>
              <p:nvPr userDrawn="1"/>
            </p:nvSpPr>
            <p:spPr>
              <a:xfrm>
                <a:off x="1263198" y="5167099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Next</a:t>
                </a:r>
              </a:p>
            </p:txBody>
          </p:sp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84265A07-082F-EA40-942B-818F68D9D02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4"/>
              <a:stretch>
                <a:fillRect/>
              </a:stretch>
            </p:blipFill>
            <p:spPr>
              <a:xfrm>
                <a:off x="897480" y="5168215"/>
                <a:ext cx="241300" cy="228600"/>
              </a:xfrm>
              <a:prstGeom prst="rect">
                <a:avLst/>
              </a:prstGeom>
            </p:spPr>
          </p:pic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86C9AB57-EAAA-3D48-841B-A4F64776FD4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5"/>
              <a:stretch>
                <a:fillRect/>
              </a:stretch>
            </p:blipFill>
            <p:spPr>
              <a:xfrm>
                <a:off x="532681" y="5161865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388182DE-DD05-FE4D-9DBA-1F223B57DAA3}"/>
                </a:ext>
              </a:extLst>
            </p:cNvPr>
            <p:cNvGrpSpPr/>
            <p:nvPr userDrawn="1"/>
          </p:nvGrpSpPr>
          <p:grpSpPr>
            <a:xfrm>
              <a:off x="532681" y="2147909"/>
              <a:ext cx="2949257" cy="241300"/>
              <a:chOff x="532681" y="2125227"/>
              <a:chExt cx="2949257" cy="241300"/>
            </a:xfrm>
          </p:grpSpPr>
          <p:sp>
            <p:nvSpPr>
              <p:cNvPr id="333" name="Rectangle 332">
                <a:extLst>
                  <a:ext uri="{FF2B5EF4-FFF2-40B4-BE49-F238E27FC236}">
                    <a16:creationId xmlns:a16="http://schemas.microsoft.com/office/drawing/2014/main" id="{751587F3-CD84-D240-AD74-3C1EAB1748BE}"/>
                  </a:ext>
                </a:extLst>
              </p:cNvPr>
              <p:cNvSpPr/>
              <p:nvPr userDrawn="1"/>
            </p:nvSpPr>
            <p:spPr>
              <a:xfrm>
                <a:off x="1263198" y="2130461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Decline in Perception</a:t>
                </a: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6F7E39E8-5E62-3B45-9E43-1FB20B59B91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6"/>
              <a:stretch>
                <a:fillRect/>
              </a:stretch>
            </p:blipFill>
            <p:spPr>
              <a:xfrm>
                <a:off x="903830" y="2131577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D6EB8271-FFF6-DE4E-BC6A-9944F070A53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7"/>
              <a:stretch>
                <a:fillRect/>
              </a:stretch>
            </p:blipFill>
            <p:spPr>
              <a:xfrm>
                <a:off x="532681" y="2125227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4E9CF343-D72E-9D40-9F8B-782C8429D874}"/>
                </a:ext>
              </a:extLst>
            </p:cNvPr>
            <p:cNvGrpSpPr/>
            <p:nvPr userDrawn="1"/>
          </p:nvGrpSpPr>
          <p:grpSpPr>
            <a:xfrm>
              <a:off x="532681" y="1824654"/>
              <a:ext cx="2949257" cy="241300"/>
              <a:chOff x="532681" y="1824654"/>
              <a:chExt cx="2949257" cy="241300"/>
            </a:xfrm>
          </p:grpSpPr>
          <p:sp>
            <p:nvSpPr>
              <p:cNvPr id="332" name="Rectangle 331">
                <a:extLst>
                  <a:ext uri="{FF2B5EF4-FFF2-40B4-BE49-F238E27FC236}">
                    <a16:creationId xmlns:a16="http://schemas.microsoft.com/office/drawing/2014/main" id="{259D36A8-096D-494F-83EC-037F5391E998}"/>
                  </a:ext>
                </a:extLst>
              </p:cNvPr>
              <p:cNvSpPr/>
              <p:nvPr userDrawn="1"/>
            </p:nvSpPr>
            <p:spPr>
              <a:xfrm>
                <a:off x="1263198" y="1829888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mprovement in Perception</a:t>
                </a:r>
              </a:p>
            </p:txBody>
          </p:sp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349D432D-05E0-B140-A187-5AB78879AF7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8"/>
              <a:stretch>
                <a:fillRect/>
              </a:stretch>
            </p:blipFill>
            <p:spPr>
              <a:xfrm>
                <a:off x="903830" y="1831004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404A56F1-67A3-8545-B834-BE1BF0C5049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9"/>
              <a:stretch>
                <a:fillRect/>
              </a:stretch>
            </p:blipFill>
            <p:spPr>
              <a:xfrm>
                <a:off x="532681" y="1824654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EE8CA596-A522-0442-860D-9F6577D80F5D}"/>
                </a:ext>
              </a:extLst>
            </p:cNvPr>
            <p:cNvGrpSpPr/>
            <p:nvPr userDrawn="1"/>
          </p:nvGrpSpPr>
          <p:grpSpPr>
            <a:xfrm>
              <a:off x="532681" y="2471164"/>
              <a:ext cx="2949257" cy="241300"/>
              <a:chOff x="532681" y="2433743"/>
              <a:chExt cx="2949257" cy="241300"/>
            </a:xfrm>
          </p:grpSpPr>
          <p:sp>
            <p:nvSpPr>
              <p:cNvPr id="334" name="Rectangle 333">
                <a:extLst>
                  <a:ext uri="{FF2B5EF4-FFF2-40B4-BE49-F238E27FC236}">
                    <a16:creationId xmlns:a16="http://schemas.microsoft.com/office/drawing/2014/main" id="{CA79EBE9-2A7B-B640-AFCA-871E8E55B4AB}"/>
                  </a:ext>
                </a:extLst>
              </p:cNvPr>
              <p:cNvSpPr/>
              <p:nvPr userDrawn="1"/>
            </p:nvSpPr>
            <p:spPr>
              <a:xfrm>
                <a:off x="1263198" y="2438977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mprovement in Rankings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A1C03FD0-2A03-F242-B78F-0D24BEE3A66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0"/>
              <a:stretch>
                <a:fillRect/>
              </a:stretch>
            </p:blipFill>
            <p:spPr>
              <a:xfrm>
                <a:off x="903830" y="244009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39" name="Picture 138">
                <a:extLst>
                  <a:ext uri="{FF2B5EF4-FFF2-40B4-BE49-F238E27FC236}">
                    <a16:creationId xmlns:a16="http://schemas.microsoft.com/office/drawing/2014/main" id="{7EC6DD29-044F-AF42-A36D-F533E772CF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1"/>
              <a:stretch>
                <a:fillRect/>
              </a:stretch>
            </p:blipFill>
            <p:spPr>
              <a:xfrm>
                <a:off x="532681" y="2433743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D878BD0B-4193-4442-B450-6F5E4F2B89B1}"/>
                </a:ext>
              </a:extLst>
            </p:cNvPr>
            <p:cNvGrpSpPr/>
            <p:nvPr userDrawn="1"/>
          </p:nvGrpSpPr>
          <p:grpSpPr>
            <a:xfrm>
              <a:off x="532681" y="3753716"/>
              <a:ext cx="2949257" cy="241300"/>
              <a:chOff x="532681" y="3645453"/>
              <a:chExt cx="2949257" cy="241300"/>
            </a:xfrm>
          </p:grpSpPr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83A99ACC-E04C-3444-83BD-F1BE452792EA}"/>
                  </a:ext>
                </a:extLst>
              </p:cNvPr>
              <p:cNvSpPr/>
              <p:nvPr userDrawn="1"/>
            </p:nvSpPr>
            <p:spPr>
              <a:xfrm>
                <a:off x="1263198" y="3650687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Strengths</a:t>
                </a:r>
              </a:p>
            </p:txBody>
          </p:sp>
          <p:pic>
            <p:nvPicPr>
              <p:cNvPr id="141" name="Picture 140">
                <a:extLst>
                  <a:ext uri="{FF2B5EF4-FFF2-40B4-BE49-F238E27FC236}">
                    <a16:creationId xmlns:a16="http://schemas.microsoft.com/office/drawing/2014/main" id="{D771E680-61BD-6A41-9489-FE21363F74F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2"/>
              <a:stretch>
                <a:fillRect/>
              </a:stretch>
            </p:blipFill>
            <p:spPr>
              <a:xfrm>
                <a:off x="903830" y="3651803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88" name="Picture 187">
                <a:extLst>
                  <a:ext uri="{FF2B5EF4-FFF2-40B4-BE49-F238E27FC236}">
                    <a16:creationId xmlns:a16="http://schemas.microsoft.com/office/drawing/2014/main" id="{F266985E-E5F5-9446-9857-4C541454364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3"/>
              <a:stretch>
                <a:fillRect/>
              </a:stretch>
            </p:blipFill>
            <p:spPr>
              <a:xfrm>
                <a:off x="532681" y="3645453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E92C21F8-9647-724F-AABA-08C465E8431C}"/>
                </a:ext>
              </a:extLst>
            </p:cNvPr>
            <p:cNvGrpSpPr/>
            <p:nvPr userDrawn="1"/>
          </p:nvGrpSpPr>
          <p:grpSpPr>
            <a:xfrm>
              <a:off x="532681" y="4723481"/>
              <a:ext cx="2949257" cy="241300"/>
              <a:chOff x="532681" y="4556796"/>
              <a:chExt cx="2949257" cy="241300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E62343EA-B734-3D48-8C71-40D6780BDDBD}"/>
                  </a:ext>
                </a:extLst>
              </p:cNvPr>
              <p:cNvSpPr/>
              <p:nvPr userDrawn="1"/>
            </p:nvSpPr>
            <p:spPr>
              <a:xfrm>
                <a:off x="1263198" y="456203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Transportation Infrastructure</a:t>
                </a:r>
              </a:p>
            </p:txBody>
          </p:sp>
          <p:pic>
            <p:nvPicPr>
              <p:cNvPr id="194" name="Picture 193">
                <a:extLst>
                  <a:ext uri="{FF2B5EF4-FFF2-40B4-BE49-F238E27FC236}">
                    <a16:creationId xmlns:a16="http://schemas.microsoft.com/office/drawing/2014/main" id="{EFF84832-3AE0-FC41-8EAE-E9C186A4F2D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4"/>
              <a:stretch>
                <a:fillRect/>
              </a:stretch>
            </p:blipFill>
            <p:spPr>
              <a:xfrm>
                <a:off x="903830" y="4563146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196" name="Picture 195">
                <a:extLst>
                  <a:ext uri="{FF2B5EF4-FFF2-40B4-BE49-F238E27FC236}">
                    <a16:creationId xmlns:a16="http://schemas.microsoft.com/office/drawing/2014/main" id="{4EA10729-ED0F-9345-A8ED-9C1966817C5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5"/>
              <a:stretch>
                <a:fillRect/>
              </a:stretch>
            </p:blipFill>
            <p:spPr>
              <a:xfrm>
                <a:off x="532681" y="4556796"/>
                <a:ext cx="241300" cy="241300"/>
              </a:xfrm>
              <a:prstGeom prst="rect">
                <a:avLst/>
              </a:prstGeom>
            </p:spPr>
          </p:pic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6383127D-4D5E-804D-9788-99CD4D62B062}"/>
                </a:ext>
              </a:extLst>
            </p:cNvPr>
            <p:cNvGrpSpPr/>
            <p:nvPr userDrawn="1"/>
          </p:nvGrpSpPr>
          <p:grpSpPr>
            <a:xfrm>
              <a:off x="532681" y="4076971"/>
              <a:ext cx="2949257" cy="241300"/>
              <a:chOff x="532681" y="3949530"/>
              <a:chExt cx="2949257" cy="241300"/>
            </a:xfrm>
          </p:grpSpPr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2352FB50-5DCE-AB4D-A67E-86828FB3F587}"/>
                  </a:ext>
                </a:extLst>
              </p:cNvPr>
              <p:cNvSpPr/>
              <p:nvPr userDrawn="1"/>
            </p:nvSpPr>
            <p:spPr>
              <a:xfrm>
                <a:off x="1263198" y="3954764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Weaknesses</a:t>
                </a:r>
              </a:p>
            </p:txBody>
          </p:sp>
          <p:pic>
            <p:nvPicPr>
              <p:cNvPr id="218" name="Picture 217">
                <a:extLst>
                  <a:ext uri="{FF2B5EF4-FFF2-40B4-BE49-F238E27FC236}">
                    <a16:creationId xmlns:a16="http://schemas.microsoft.com/office/drawing/2014/main" id="{8CBED37C-1EB4-F849-9DD0-EB95EC0D14D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6"/>
              <a:stretch>
                <a:fillRect/>
              </a:stretch>
            </p:blipFill>
            <p:spPr>
              <a:xfrm>
                <a:off x="903830" y="3955880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220" name="Picture 219">
                <a:extLst>
                  <a:ext uri="{FF2B5EF4-FFF2-40B4-BE49-F238E27FC236}">
                    <a16:creationId xmlns:a16="http://schemas.microsoft.com/office/drawing/2014/main" id="{4282E420-1A79-9942-B1E9-5BD29971968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7"/>
              <a:stretch>
                <a:fillRect/>
              </a:stretch>
            </p:blipFill>
            <p:spPr>
              <a:xfrm>
                <a:off x="532681" y="3949530"/>
                <a:ext cx="241300" cy="241300"/>
              </a:xfrm>
              <a:prstGeom prst="rect">
                <a:avLst/>
              </a:prstGeom>
            </p:spPr>
          </p:pic>
        </p:grpSp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D8B89403-7378-7442-A3B4-3B1FEB2C7FAC}"/>
              </a:ext>
            </a:extLst>
          </p:cNvPr>
          <p:cNvGrpSpPr/>
          <p:nvPr userDrawn="1"/>
        </p:nvGrpSpPr>
        <p:grpSpPr>
          <a:xfrm>
            <a:off x="3977504" y="1828058"/>
            <a:ext cx="2942907" cy="881984"/>
            <a:chOff x="3977504" y="1828058"/>
            <a:chExt cx="2942907" cy="881984"/>
          </a:xfrm>
        </p:grpSpPr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D7EEA038-D3C0-CB40-AB70-B76488FD9B9C}"/>
                </a:ext>
              </a:extLst>
            </p:cNvPr>
            <p:cNvGrpSpPr/>
            <p:nvPr userDrawn="1"/>
          </p:nvGrpSpPr>
          <p:grpSpPr>
            <a:xfrm>
              <a:off x="3977504" y="1828058"/>
              <a:ext cx="2942907" cy="230832"/>
              <a:chOff x="3977504" y="1819894"/>
              <a:chExt cx="2942907" cy="230832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B1BEE88E-6307-4340-AF46-EB97345897A1}"/>
                  </a:ext>
                </a:extLst>
              </p:cNvPr>
              <p:cNvSpPr/>
              <p:nvPr userDrawn="1"/>
            </p:nvSpPr>
            <p:spPr>
              <a:xfrm>
                <a:off x="4701671" y="1819894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VEDP Staff</a:t>
                </a:r>
              </a:p>
            </p:txBody>
          </p:sp>
          <p:pic>
            <p:nvPicPr>
              <p:cNvPr id="213" name="Picture 212">
                <a:extLst>
                  <a:ext uri="{FF2B5EF4-FFF2-40B4-BE49-F238E27FC236}">
                    <a16:creationId xmlns:a16="http://schemas.microsoft.com/office/drawing/2014/main" id="{C5F37151-7FED-1B44-8CDE-C350ACE3511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8"/>
              <a:stretch>
                <a:fillRect/>
              </a:stretch>
            </p:blipFill>
            <p:spPr>
              <a:xfrm>
                <a:off x="4346661" y="1821010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216" name="Picture 215">
                <a:extLst>
                  <a:ext uri="{FF2B5EF4-FFF2-40B4-BE49-F238E27FC236}">
                    <a16:creationId xmlns:a16="http://schemas.microsoft.com/office/drawing/2014/main" id="{C19D093E-34F1-134F-A7B9-0E05559182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9"/>
              <a:stretch>
                <a:fillRect/>
              </a:stretch>
            </p:blipFill>
            <p:spPr>
              <a:xfrm>
                <a:off x="3977504" y="1821010"/>
                <a:ext cx="228600" cy="228600"/>
              </a:xfrm>
              <a:prstGeom prst="rect">
                <a:avLst/>
              </a:prstGeom>
            </p:spPr>
          </p:pic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A5900F07-D21B-5E44-85BD-CF789DBDBBA8}"/>
                </a:ext>
              </a:extLst>
            </p:cNvPr>
            <p:cNvGrpSpPr/>
            <p:nvPr userDrawn="1"/>
          </p:nvGrpSpPr>
          <p:grpSpPr>
            <a:xfrm>
              <a:off x="3977504" y="2479210"/>
              <a:ext cx="2942907" cy="230832"/>
              <a:chOff x="3977504" y="2427725"/>
              <a:chExt cx="2942907" cy="230832"/>
            </a:xfrm>
          </p:grpSpPr>
          <p:sp>
            <p:nvSpPr>
              <p:cNvPr id="379" name="Rectangle 378">
                <a:extLst>
                  <a:ext uri="{FF2B5EF4-FFF2-40B4-BE49-F238E27FC236}">
                    <a16:creationId xmlns:a16="http://schemas.microsoft.com/office/drawing/2014/main" id="{5A703A29-F42D-9A45-BC00-36404057EFB0}"/>
                  </a:ext>
                </a:extLst>
              </p:cNvPr>
              <p:cNvSpPr/>
              <p:nvPr userDrawn="1"/>
            </p:nvSpPr>
            <p:spPr>
              <a:xfrm>
                <a:off x="4701671" y="2427725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In-State Partners</a:t>
                </a:r>
              </a:p>
            </p:txBody>
          </p:sp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B9AD3588-EB83-FE4D-881A-FC29DBB3B35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0"/>
              <a:stretch>
                <a:fillRect/>
              </a:stretch>
            </p:blipFill>
            <p:spPr>
              <a:xfrm>
                <a:off x="4346661" y="2428841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A8062E7E-3BDD-1448-8EBA-1DDBD3ACE2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1"/>
              <a:stretch>
                <a:fillRect/>
              </a:stretch>
            </p:blipFill>
            <p:spPr>
              <a:xfrm>
                <a:off x="3977504" y="2428841"/>
                <a:ext cx="228600" cy="228600"/>
              </a:xfrm>
              <a:prstGeom prst="rect">
                <a:avLst/>
              </a:prstGeom>
            </p:spPr>
          </p:pic>
        </p:grpSp>
        <p:grpSp>
          <p:nvGrpSpPr>
            <p:cNvPr id="253" name="Group 252">
              <a:extLst>
                <a:ext uri="{FF2B5EF4-FFF2-40B4-BE49-F238E27FC236}">
                  <a16:creationId xmlns:a16="http://schemas.microsoft.com/office/drawing/2014/main" id="{89552749-7D93-2B47-8CB0-24BC118211D1}"/>
                </a:ext>
              </a:extLst>
            </p:cNvPr>
            <p:cNvGrpSpPr/>
            <p:nvPr userDrawn="1"/>
          </p:nvGrpSpPr>
          <p:grpSpPr>
            <a:xfrm>
              <a:off x="3977504" y="2151188"/>
              <a:ext cx="2942907" cy="230832"/>
              <a:chOff x="3977504" y="2119252"/>
              <a:chExt cx="2942907" cy="230832"/>
            </a:xfrm>
          </p:grpSpPr>
          <p:sp>
            <p:nvSpPr>
              <p:cNvPr id="378" name="Rectangle 377">
                <a:extLst>
                  <a:ext uri="{FF2B5EF4-FFF2-40B4-BE49-F238E27FC236}">
                    <a16:creationId xmlns:a16="http://schemas.microsoft.com/office/drawing/2014/main" id="{CB2FE2C0-4DDF-B24D-93B8-BBCE095A4E9B}"/>
                  </a:ext>
                </a:extLst>
              </p:cNvPr>
              <p:cNvSpPr/>
              <p:nvPr userDrawn="1"/>
            </p:nvSpPr>
            <p:spPr>
              <a:xfrm>
                <a:off x="4701671" y="2119252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Outside Consultants</a:t>
                </a:r>
              </a:p>
            </p:txBody>
          </p:sp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DD844418-71B7-6F41-802E-F7E88591AB2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2"/>
              <a:stretch>
                <a:fillRect/>
              </a:stretch>
            </p:blipFill>
            <p:spPr>
              <a:xfrm>
                <a:off x="4346661" y="2133068"/>
                <a:ext cx="228600" cy="203200"/>
              </a:xfrm>
              <a:prstGeom prst="rect">
                <a:avLst/>
              </a:prstGeom>
            </p:spPr>
          </p:pic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A54E05A8-D132-A349-8F78-4F670203996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3"/>
              <a:stretch>
                <a:fillRect/>
              </a:stretch>
            </p:blipFill>
            <p:spPr>
              <a:xfrm>
                <a:off x="3977504" y="2120368"/>
                <a:ext cx="228600" cy="228600"/>
              </a:xfrm>
              <a:prstGeom prst="rect">
                <a:avLst/>
              </a:prstGeom>
            </p:spPr>
          </p:pic>
        </p:grp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105390B4-1408-C043-B777-3C942ABA3E5F}"/>
              </a:ext>
            </a:extLst>
          </p:cNvPr>
          <p:cNvGrpSpPr/>
          <p:nvPr userDrawn="1"/>
        </p:nvGrpSpPr>
        <p:grpSpPr>
          <a:xfrm>
            <a:off x="3977504" y="3123772"/>
            <a:ext cx="2942907" cy="1191964"/>
            <a:chOff x="3977504" y="3123772"/>
            <a:chExt cx="2942907" cy="1191964"/>
          </a:xfrm>
        </p:grpSpPr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4D388C0C-2BBA-D84C-A7B4-FA7FA2B0D81A}"/>
                </a:ext>
              </a:extLst>
            </p:cNvPr>
            <p:cNvGrpSpPr/>
            <p:nvPr userDrawn="1"/>
          </p:nvGrpSpPr>
          <p:grpSpPr>
            <a:xfrm>
              <a:off x="3996554" y="3433474"/>
              <a:ext cx="2923857" cy="230832"/>
              <a:chOff x="3996554" y="3333843"/>
              <a:chExt cx="2923857" cy="230832"/>
            </a:xfrm>
          </p:grpSpPr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56A599E1-7E92-F942-B5C6-D5630B07412D}"/>
                  </a:ext>
                </a:extLst>
              </p:cNvPr>
              <p:cNvSpPr/>
              <p:nvPr userDrawn="1"/>
            </p:nvSpPr>
            <p:spPr>
              <a:xfrm>
                <a:off x="4701671" y="3333843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Answer</a:t>
                </a:r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6CCB484E-7406-D549-8222-1761F8C8B14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4"/>
              <a:stretch>
                <a:fillRect/>
              </a:stretch>
            </p:blipFill>
            <p:spPr>
              <a:xfrm>
                <a:off x="4372061" y="3379409"/>
                <a:ext cx="177800" cy="139700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4FA6C536-1CAF-9949-9F48-ED707F3D82B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5"/>
              <a:stretch>
                <a:fillRect/>
              </a:stretch>
            </p:blipFill>
            <p:spPr>
              <a:xfrm>
                <a:off x="3996554" y="3373059"/>
                <a:ext cx="190500" cy="152400"/>
              </a:xfrm>
              <a:prstGeom prst="rect">
                <a:avLst/>
              </a:prstGeom>
            </p:spPr>
          </p:pic>
        </p:grpSp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8FC3BBF3-89D3-364C-B32C-3462FAC360C2}"/>
                </a:ext>
              </a:extLst>
            </p:cNvPr>
            <p:cNvGrpSpPr/>
            <p:nvPr userDrawn="1"/>
          </p:nvGrpSpPr>
          <p:grpSpPr>
            <a:xfrm>
              <a:off x="4041004" y="4084904"/>
              <a:ext cx="2879407" cy="230832"/>
              <a:chOff x="4041004" y="3986692"/>
              <a:chExt cx="2879407" cy="230832"/>
            </a:xfrm>
          </p:grpSpPr>
          <p:sp>
            <p:nvSpPr>
              <p:cNvPr id="383" name="Rectangle 382">
                <a:extLst>
                  <a:ext uri="{FF2B5EF4-FFF2-40B4-BE49-F238E27FC236}">
                    <a16:creationId xmlns:a16="http://schemas.microsoft.com/office/drawing/2014/main" id="{A7871954-FA7B-5443-BEC0-05C602F83015}"/>
                  </a:ext>
                </a:extLst>
              </p:cNvPr>
              <p:cNvSpPr/>
              <p:nvPr userDrawn="1"/>
            </p:nvSpPr>
            <p:spPr>
              <a:xfrm>
                <a:off x="4701671" y="3986692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Positive/Negative</a:t>
                </a:r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C9FBE4D0-BEE8-C44E-8E07-FC6942EF9AD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6"/>
              <a:stretch>
                <a:fillRect/>
              </a:stretch>
            </p:blipFill>
            <p:spPr>
              <a:xfrm>
                <a:off x="4410161" y="4051308"/>
                <a:ext cx="101600" cy="101600"/>
              </a:xfrm>
              <a:prstGeom prst="rect">
                <a:avLst/>
              </a:prstGeom>
            </p:spPr>
          </p:pic>
          <p:pic>
            <p:nvPicPr>
              <p:cNvPr id="131" name="Picture 130">
                <a:extLst>
                  <a:ext uri="{FF2B5EF4-FFF2-40B4-BE49-F238E27FC236}">
                    <a16:creationId xmlns:a16="http://schemas.microsoft.com/office/drawing/2014/main" id="{E52A0E5E-36A6-B14D-B950-C6E3881FF3A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7"/>
              <a:stretch>
                <a:fillRect/>
              </a:stretch>
            </p:blipFill>
            <p:spPr>
              <a:xfrm>
                <a:off x="4041004" y="4051308"/>
                <a:ext cx="101600" cy="101600"/>
              </a:xfrm>
              <a:prstGeom prst="rect">
                <a:avLst/>
              </a:prstGeom>
            </p:spPr>
          </p:pic>
        </p:grp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C8E2286F-EECE-FD40-8E7C-FEDB4EE5AFDE}"/>
                </a:ext>
              </a:extLst>
            </p:cNvPr>
            <p:cNvGrpSpPr/>
            <p:nvPr userDrawn="1"/>
          </p:nvGrpSpPr>
          <p:grpSpPr>
            <a:xfrm>
              <a:off x="3996554" y="3123772"/>
              <a:ext cx="2923857" cy="230832"/>
              <a:chOff x="3996554" y="3040860"/>
              <a:chExt cx="2923857" cy="230832"/>
            </a:xfrm>
          </p:grpSpPr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D8E3787F-8B3B-8746-9C8F-88B38F2C32C5}"/>
                  </a:ext>
                </a:extLst>
              </p:cNvPr>
              <p:cNvSpPr/>
              <p:nvPr userDrawn="1"/>
            </p:nvSpPr>
            <p:spPr>
              <a:xfrm>
                <a:off x="4701671" y="3040860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Question</a:t>
                </a:r>
              </a:p>
            </p:txBody>
          </p:sp>
          <p:pic>
            <p:nvPicPr>
              <p:cNvPr id="133" name="Picture 132">
                <a:extLst>
                  <a:ext uri="{FF2B5EF4-FFF2-40B4-BE49-F238E27FC236}">
                    <a16:creationId xmlns:a16="http://schemas.microsoft.com/office/drawing/2014/main" id="{BAB4070F-D360-E941-B17F-20BD1C3ED16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8"/>
              <a:stretch>
                <a:fillRect/>
              </a:stretch>
            </p:blipFill>
            <p:spPr>
              <a:xfrm>
                <a:off x="4372061" y="3086426"/>
                <a:ext cx="177800" cy="139700"/>
              </a:xfrm>
              <a:prstGeom prst="rect">
                <a:avLst/>
              </a:prstGeom>
            </p:spPr>
          </p:pic>
          <p:pic>
            <p:nvPicPr>
              <p:cNvPr id="135" name="Picture 134">
                <a:extLst>
                  <a:ext uri="{FF2B5EF4-FFF2-40B4-BE49-F238E27FC236}">
                    <a16:creationId xmlns:a16="http://schemas.microsoft.com/office/drawing/2014/main" id="{74E43007-DE2D-E047-A773-9BC002879C7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9"/>
              <a:stretch>
                <a:fillRect/>
              </a:stretch>
            </p:blipFill>
            <p:spPr>
              <a:xfrm>
                <a:off x="3996554" y="3080076"/>
                <a:ext cx="190500" cy="152400"/>
              </a:xfrm>
              <a:prstGeom prst="rect">
                <a:avLst/>
              </a:prstGeom>
            </p:spPr>
          </p:pic>
        </p:grpSp>
        <p:grpSp>
          <p:nvGrpSpPr>
            <p:cNvPr id="257" name="Group 256">
              <a:extLst>
                <a:ext uri="{FF2B5EF4-FFF2-40B4-BE49-F238E27FC236}">
                  <a16:creationId xmlns:a16="http://schemas.microsoft.com/office/drawing/2014/main" id="{14679688-8C56-DB40-8460-05D63BC35527}"/>
                </a:ext>
              </a:extLst>
            </p:cNvPr>
            <p:cNvGrpSpPr/>
            <p:nvPr userDrawn="1"/>
          </p:nvGrpSpPr>
          <p:grpSpPr>
            <a:xfrm>
              <a:off x="3977504" y="3756992"/>
              <a:ext cx="2942907" cy="230832"/>
              <a:chOff x="3977504" y="3633585"/>
              <a:chExt cx="2942907" cy="230832"/>
            </a:xfrm>
          </p:grpSpPr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BAE9B1A0-9C59-814B-8DFC-8E032248FDB8}"/>
                  </a:ext>
                </a:extLst>
              </p:cNvPr>
              <p:cNvSpPr/>
              <p:nvPr userDrawn="1"/>
            </p:nvSpPr>
            <p:spPr>
              <a:xfrm>
                <a:off x="4701671" y="3633585"/>
                <a:ext cx="2218740" cy="230832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l"/>
                <a:r>
                  <a:rPr lang="en-US" sz="900" b="0" i="0" dirty="0">
                    <a:solidFill>
                      <a:srgbClr val="003765"/>
                    </a:solidFill>
                    <a:latin typeface="Arial" charset="0"/>
                    <a:ea typeface="Arial" charset="0"/>
                    <a:cs typeface="Arial" charset="0"/>
                  </a:rPr>
                  <a:t>Yes/No</a:t>
                </a: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DB7C1E3A-D879-2642-8420-902D3B58AEF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0"/>
              <a:stretch>
                <a:fillRect/>
              </a:stretch>
            </p:blipFill>
            <p:spPr>
              <a:xfrm>
                <a:off x="4346661" y="3634701"/>
                <a:ext cx="228600" cy="228600"/>
              </a:xfrm>
              <a:prstGeom prst="rect">
                <a:avLst/>
              </a:prstGeom>
            </p:spPr>
          </p:pic>
          <p:pic>
            <p:nvPicPr>
              <p:cNvPr id="223" name="Picture 222">
                <a:extLst>
                  <a:ext uri="{FF2B5EF4-FFF2-40B4-BE49-F238E27FC236}">
                    <a16:creationId xmlns:a16="http://schemas.microsoft.com/office/drawing/2014/main" id="{7784B5FE-E06F-1D43-B5D6-9380A429850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1"/>
              <a:stretch>
                <a:fillRect/>
              </a:stretch>
            </p:blipFill>
            <p:spPr>
              <a:xfrm>
                <a:off x="3977504" y="3634701"/>
                <a:ext cx="228600" cy="2286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953514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Map Miscellaneous Symbol Library State Ico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TATE ICONS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A98DE6D-5B66-864E-B4AD-C34F84E0AE06}"/>
              </a:ext>
            </a:extLst>
          </p:cNvPr>
          <p:cNvGrpSpPr/>
          <p:nvPr userDrawn="1"/>
        </p:nvGrpSpPr>
        <p:grpSpPr>
          <a:xfrm>
            <a:off x="256149" y="2472346"/>
            <a:ext cx="8547592" cy="230832"/>
            <a:chOff x="256149" y="2427002"/>
            <a:chExt cx="8547592" cy="230832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7CD4DE5-4EFD-2848-851A-195EF6B83DB3}"/>
                </a:ext>
              </a:extLst>
            </p:cNvPr>
            <p:cNvSpPr/>
            <p:nvPr userDrawn="1"/>
          </p:nvSpPr>
          <p:spPr>
            <a:xfrm>
              <a:off x="256149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Alabama - AL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8C407940-39E3-094B-AE4B-1A9CBEF55312}"/>
                </a:ext>
              </a:extLst>
            </p:cNvPr>
            <p:cNvSpPr/>
            <p:nvPr userDrawn="1"/>
          </p:nvSpPr>
          <p:spPr>
            <a:xfrm>
              <a:off x="1969117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Colorado - CO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49932A65-28E1-E84A-AAF5-6F9E2A95F06C}"/>
                </a:ext>
              </a:extLst>
            </p:cNvPr>
            <p:cNvSpPr/>
            <p:nvPr userDrawn="1"/>
          </p:nvSpPr>
          <p:spPr>
            <a:xfrm>
              <a:off x="3682085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Florida - FL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14E63E9-E1E7-C84F-9340-EC3740387CD1}"/>
                </a:ext>
              </a:extLst>
            </p:cNvPr>
            <p:cNvSpPr/>
            <p:nvPr userDrawn="1"/>
          </p:nvSpPr>
          <p:spPr>
            <a:xfrm>
              <a:off x="5395053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ndiana - IN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C8B6632-6224-3549-86D3-7F0F7913480C}"/>
                </a:ext>
              </a:extLst>
            </p:cNvPr>
            <p:cNvSpPr/>
            <p:nvPr userDrawn="1"/>
          </p:nvSpPr>
          <p:spPr>
            <a:xfrm>
              <a:off x="7108021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Louisiana - LA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C9A822-351E-B948-877B-5332D96FA95D}"/>
              </a:ext>
            </a:extLst>
          </p:cNvPr>
          <p:cNvGrpSpPr/>
          <p:nvPr userDrawn="1"/>
        </p:nvGrpSpPr>
        <p:grpSpPr>
          <a:xfrm>
            <a:off x="256149" y="3841902"/>
            <a:ext cx="8547592" cy="230832"/>
            <a:chOff x="256149" y="3783944"/>
            <a:chExt cx="8547592" cy="230832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98EE90F-BB72-654D-8D4D-038315D94D64}"/>
                </a:ext>
              </a:extLst>
            </p:cNvPr>
            <p:cNvSpPr/>
            <p:nvPr userDrawn="1"/>
          </p:nvSpPr>
          <p:spPr>
            <a:xfrm>
              <a:off x="256149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Arizona - AZ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8BBD9CD-E4A7-8F4B-985D-26077FA697A1}"/>
                </a:ext>
              </a:extLst>
            </p:cNvPr>
            <p:cNvSpPr/>
            <p:nvPr userDrawn="1"/>
          </p:nvSpPr>
          <p:spPr>
            <a:xfrm>
              <a:off x="1969117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Connecticut - CT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F9380669-E66F-9442-BAE8-0A6710F6015C}"/>
                </a:ext>
              </a:extLst>
            </p:cNvPr>
            <p:cNvSpPr/>
            <p:nvPr userDrawn="1"/>
          </p:nvSpPr>
          <p:spPr>
            <a:xfrm>
              <a:off x="3682085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Georgia - GA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6C2BBD2-7A5F-A145-B780-9E2E34CE93AB}"/>
                </a:ext>
              </a:extLst>
            </p:cNvPr>
            <p:cNvSpPr/>
            <p:nvPr userDrawn="1"/>
          </p:nvSpPr>
          <p:spPr>
            <a:xfrm>
              <a:off x="5395053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owa - IA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482E837-0224-A940-AC8A-329898BFA1AF}"/>
                </a:ext>
              </a:extLst>
            </p:cNvPr>
            <p:cNvSpPr/>
            <p:nvPr userDrawn="1"/>
          </p:nvSpPr>
          <p:spPr>
            <a:xfrm>
              <a:off x="7108021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aine - ME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D90696E-E8B7-1C42-AC80-2DDD7FCB90FA}"/>
              </a:ext>
            </a:extLst>
          </p:cNvPr>
          <p:cNvGrpSpPr/>
          <p:nvPr userDrawn="1"/>
        </p:nvGrpSpPr>
        <p:grpSpPr>
          <a:xfrm>
            <a:off x="256149" y="5186058"/>
            <a:ext cx="8547592" cy="230832"/>
            <a:chOff x="256149" y="5038911"/>
            <a:chExt cx="8547592" cy="230832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9E028B0-DD15-D949-BB86-A4D3DB5DB560}"/>
                </a:ext>
              </a:extLst>
            </p:cNvPr>
            <p:cNvSpPr/>
            <p:nvPr userDrawn="1"/>
          </p:nvSpPr>
          <p:spPr>
            <a:xfrm>
              <a:off x="256149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Arkansas - AR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13FB3D2-99D0-0D41-A2A0-13D9211C5244}"/>
                </a:ext>
              </a:extLst>
            </p:cNvPr>
            <p:cNvSpPr/>
            <p:nvPr userDrawn="1"/>
          </p:nvSpPr>
          <p:spPr>
            <a:xfrm>
              <a:off x="1969117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Delaware - DE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802CCC-B242-D94A-84BD-64EB7E523FD0}"/>
                </a:ext>
              </a:extLst>
            </p:cNvPr>
            <p:cNvSpPr/>
            <p:nvPr userDrawn="1"/>
          </p:nvSpPr>
          <p:spPr>
            <a:xfrm>
              <a:off x="3682085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daho - ID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89F7F65-F092-7D48-B8C4-6FCE68083E45}"/>
                </a:ext>
              </a:extLst>
            </p:cNvPr>
            <p:cNvSpPr/>
            <p:nvPr userDrawn="1"/>
          </p:nvSpPr>
          <p:spPr>
            <a:xfrm>
              <a:off x="5395053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Kansas - KS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767934A0-2880-3944-BAC9-C22148AB6D86}"/>
                </a:ext>
              </a:extLst>
            </p:cNvPr>
            <p:cNvSpPr/>
            <p:nvPr userDrawn="1"/>
          </p:nvSpPr>
          <p:spPr>
            <a:xfrm>
              <a:off x="7108021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aryland - MD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4A8B039-C204-714B-AE1C-9E4E1194106E}"/>
              </a:ext>
            </a:extLst>
          </p:cNvPr>
          <p:cNvGrpSpPr/>
          <p:nvPr userDrawn="1"/>
        </p:nvGrpSpPr>
        <p:grpSpPr>
          <a:xfrm>
            <a:off x="256149" y="6504814"/>
            <a:ext cx="8547592" cy="230832"/>
            <a:chOff x="256149" y="6504814"/>
            <a:chExt cx="8547592" cy="230832"/>
          </a:xfrm>
        </p:grpSpPr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60438AC1-696F-AA4E-837E-649045A582BF}"/>
                </a:ext>
              </a:extLst>
            </p:cNvPr>
            <p:cNvSpPr/>
            <p:nvPr userDrawn="1"/>
          </p:nvSpPr>
          <p:spPr>
            <a:xfrm>
              <a:off x="256149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California - CA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96D3E80-0246-4543-B750-47FFADA3D5A8}"/>
                </a:ext>
              </a:extLst>
            </p:cNvPr>
            <p:cNvSpPr/>
            <p:nvPr userDrawn="1"/>
          </p:nvSpPr>
          <p:spPr>
            <a:xfrm>
              <a:off x="1969117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District of Columbia - DC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943CDDF-6A54-DD49-B452-7622322CF399}"/>
                </a:ext>
              </a:extLst>
            </p:cNvPr>
            <p:cNvSpPr/>
            <p:nvPr userDrawn="1"/>
          </p:nvSpPr>
          <p:spPr>
            <a:xfrm>
              <a:off x="3682085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llinois - IL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E9BF15A-9C07-B546-9519-C126C0A46AD2}"/>
                </a:ext>
              </a:extLst>
            </p:cNvPr>
            <p:cNvSpPr/>
            <p:nvPr userDrawn="1"/>
          </p:nvSpPr>
          <p:spPr>
            <a:xfrm>
              <a:off x="5395053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Kentucky - KY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E6FEB05-74D4-BC4B-88BA-8C241995A5B5}"/>
                </a:ext>
              </a:extLst>
            </p:cNvPr>
            <p:cNvSpPr/>
            <p:nvPr userDrawn="1"/>
          </p:nvSpPr>
          <p:spPr>
            <a:xfrm>
              <a:off x="7108021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assachusetts - MA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0FA3F8D-7C53-8B42-B05B-912110A541A4}"/>
              </a:ext>
            </a:extLst>
          </p:cNvPr>
          <p:cNvGrpSpPr/>
          <p:nvPr userDrawn="1"/>
        </p:nvGrpSpPr>
        <p:grpSpPr>
          <a:xfrm>
            <a:off x="869059" y="1401334"/>
            <a:ext cx="7537672" cy="990600"/>
            <a:chOff x="869059" y="1489254"/>
            <a:chExt cx="7537672" cy="990600"/>
          </a:xfrm>
        </p:grpSpPr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8EB26D19-869D-5548-AE19-0F4A139687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869059" y="1609904"/>
              <a:ext cx="469900" cy="749300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29EC8288-56A1-2D41-B19F-C1EF906933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423277" y="1717854"/>
              <a:ext cx="787400" cy="5334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9A4BB19-64AF-5A4E-A901-7897B1BA1F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040995" y="1489254"/>
              <a:ext cx="977900" cy="99060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F04EDE5F-A2EA-ED47-B398-34336E3D76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5969863" y="1533704"/>
              <a:ext cx="546100" cy="90170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23905744-FB88-4348-9651-F54CC4CBBF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505031" y="1565454"/>
              <a:ext cx="901700" cy="838200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2C28E5E-AD48-3747-877A-D7A1C00E0F99}"/>
              </a:ext>
            </a:extLst>
          </p:cNvPr>
          <p:cNvGrpSpPr/>
          <p:nvPr userDrawn="1"/>
        </p:nvGrpSpPr>
        <p:grpSpPr>
          <a:xfrm>
            <a:off x="742059" y="2783590"/>
            <a:ext cx="7601172" cy="977900"/>
            <a:chOff x="742059" y="2747010"/>
            <a:chExt cx="7601172" cy="977900"/>
          </a:xfrm>
        </p:grpSpPr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DAA75AA7-03FD-BE4E-9A41-DA27E0403C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742059" y="2810510"/>
              <a:ext cx="723900" cy="8509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348B0F9-B3B7-7C4D-AD61-70A1EC877D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397877" y="2962910"/>
              <a:ext cx="838200" cy="5461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35B6038-DFAA-444F-AC40-CDB4AA86A1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4180695" y="2816860"/>
              <a:ext cx="698500" cy="83820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C5018FB-B905-4F4B-A1E8-94CA33B422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5760313" y="2956560"/>
              <a:ext cx="965200" cy="558800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EBF6556-8284-F540-8309-9F37BD7B61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7568531" y="2747010"/>
              <a:ext cx="774700" cy="977900"/>
            </a:xfrm>
            <a:prstGeom prst="rect">
              <a:avLst/>
            </a:prstGeom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1B702C5-78EB-2E47-AACD-56682670E898}"/>
              </a:ext>
            </a:extLst>
          </p:cNvPr>
          <p:cNvGrpSpPr/>
          <p:nvPr userDrawn="1"/>
        </p:nvGrpSpPr>
        <p:grpSpPr>
          <a:xfrm>
            <a:off x="672209" y="4153146"/>
            <a:ext cx="7810722" cy="952500"/>
            <a:chOff x="672209" y="3947492"/>
            <a:chExt cx="7810722" cy="952500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717D5C92-4471-4544-8066-B260CE40214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672209" y="4061792"/>
              <a:ext cx="863600" cy="7239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55040AB-99D4-A446-9FDE-950B49A66D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2607427" y="3947492"/>
              <a:ext cx="419100" cy="9525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BB653AD-4876-AC47-BC3F-3485D39B0B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180695" y="3947492"/>
              <a:ext cx="698500" cy="952500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DE24312-4DF4-1B48-8E3E-F9FBAA93C4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5811113" y="4220542"/>
              <a:ext cx="863600" cy="406400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F1B2B5EE-7C46-E44E-8055-F90A84A67D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7428831" y="4169742"/>
              <a:ext cx="1054100" cy="50800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784E5ED-438B-3C4B-9E9F-0785E440EA86}"/>
              </a:ext>
            </a:extLst>
          </p:cNvPr>
          <p:cNvGrpSpPr/>
          <p:nvPr userDrawn="1"/>
        </p:nvGrpSpPr>
        <p:grpSpPr>
          <a:xfrm>
            <a:off x="691259" y="5497302"/>
            <a:ext cx="7734522" cy="927100"/>
            <a:chOff x="691259" y="5407569"/>
            <a:chExt cx="7734522" cy="927100"/>
          </a:xfrm>
        </p:grpSpPr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35AB202F-FCFF-8D45-B50A-CEDD62A961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691259" y="5420269"/>
              <a:ext cx="825500" cy="9017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E7119FD-162B-984C-87DF-5FB74ABE7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2416927" y="5407569"/>
              <a:ext cx="800100" cy="92710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5C04648-6244-A741-B198-EB24F951D5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4218795" y="5420269"/>
              <a:ext cx="622300" cy="901700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24CABDC-4C8D-E14F-A601-2EEDF7A214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5728563" y="5661569"/>
              <a:ext cx="1028700" cy="419100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2E1FF6B5-0DCA-6849-9356-9FE4E39F98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7485981" y="5610769"/>
              <a:ext cx="939800" cy="520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62931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State Ic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TATE ICONS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A98DE6D-5B66-864E-B4AD-C34F84E0AE06}"/>
              </a:ext>
            </a:extLst>
          </p:cNvPr>
          <p:cNvGrpSpPr/>
          <p:nvPr userDrawn="1"/>
        </p:nvGrpSpPr>
        <p:grpSpPr>
          <a:xfrm>
            <a:off x="256149" y="2472346"/>
            <a:ext cx="8547592" cy="230832"/>
            <a:chOff x="256149" y="2427002"/>
            <a:chExt cx="8547592" cy="230832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7CD4DE5-4EFD-2848-851A-195EF6B83DB3}"/>
                </a:ext>
              </a:extLst>
            </p:cNvPr>
            <p:cNvSpPr/>
            <p:nvPr userDrawn="1"/>
          </p:nvSpPr>
          <p:spPr>
            <a:xfrm>
              <a:off x="256149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ichigan - MI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8C407940-39E3-094B-AE4B-1A9CBEF55312}"/>
                </a:ext>
              </a:extLst>
            </p:cNvPr>
            <p:cNvSpPr/>
            <p:nvPr userDrawn="1"/>
          </p:nvSpPr>
          <p:spPr>
            <a:xfrm>
              <a:off x="1969117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ontana - MT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49932A65-28E1-E84A-AAF5-6F9E2A95F06C}"/>
                </a:ext>
              </a:extLst>
            </p:cNvPr>
            <p:cNvSpPr/>
            <p:nvPr userDrawn="1"/>
          </p:nvSpPr>
          <p:spPr>
            <a:xfrm>
              <a:off x="3682085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w Jersey - NJ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14E63E9-E1E7-C84F-9340-EC3740387CD1}"/>
                </a:ext>
              </a:extLst>
            </p:cNvPr>
            <p:cNvSpPr/>
            <p:nvPr userDrawn="1"/>
          </p:nvSpPr>
          <p:spPr>
            <a:xfrm>
              <a:off x="5395053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orth Dakota - ND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8C8B6632-6224-3549-86D3-7F0F7913480C}"/>
                </a:ext>
              </a:extLst>
            </p:cNvPr>
            <p:cNvSpPr/>
            <p:nvPr userDrawn="1"/>
          </p:nvSpPr>
          <p:spPr>
            <a:xfrm>
              <a:off x="7108021" y="24270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Pennsylvania - PA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4C9A822-351E-B948-877B-5332D96FA95D}"/>
              </a:ext>
            </a:extLst>
          </p:cNvPr>
          <p:cNvGrpSpPr/>
          <p:nvPr userDrawn="1"/>
        </p:nvGrpSpPr>
        <p:grpSpPr>
          <a:xfrm>
            <a:off x="256149" y="3841902"/>
            <a:ext cx="8547592" cy="230832"/>
            <a:chOff x="256149" y="3783944"/>
            <a:chExt cx="8547592" cy="230832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98EE90F-BB72-654D-8D4D-038315D94D64}"/>
                </a:ext>
              </a:extLst>
            </p:cNvPr>
            <p:cNvSpPr/>
            <p:nvPr userDrawn="1"/>
          </p:nvSpPr>
          <p:spPr>
            <a:xfrm>
              <a:off x="256149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innesota - MN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8BBD9CD-E4A7-8F4B-985D-26077FA697A1}"/>
                </a:ext>
              </a:extLst>
            </p:cNvPr>
            <p:cNvSpPr/>
            <p:nvPr userDrawn="1"/>
          </p:nvSpPr>
          <p:spPr>
            <a:xfrm>
              <a:off x="1969117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braska - NE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F9380669-E66F-9442-BAE8-0A6710F6015C}"/>
                </a:ext>
              </a:extLst>
            </p:cNvPr>
            <p:cNvSpPr/>
            <p:nvPr userDrawn="1"/>
          </p:nvSpPr>
          <p:spPr>
            <a:xfrm>
              <a:off x="3682085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w Mexico - NM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6C2BBD2-7A5F-A145-B780-9E2E34CE93AB}"/>
                </a:ext>
              </a:extLst>
            </p:cNvPr>
            <p:cNvSpPr/>
            <p:nvPr userDrawn="1"/>
          </p:nvSpPr>
          <p:spPr>
            <a:xfrm>
              <a:off x="5395053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Ohio - OH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1482E837-0224-A940-AC8A-329898BFA1AF}"/>
                </a:ext>
              </a:extLst>
            </p:cNvPr>
            <p:cNvSpPr/>
            <p:nvPr userDrawn="1"/>
          </p:nvSpPr>
          <p:spPr>
            <a:xfrm>
              <a:off x="7108021" y="378394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Rhode Island - RI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D90696E-E8B7-1C42-AC80-2DDD7FCB90FA}"/>
              </a:ext>
            </a:extLst>
          </p:cNvPr>
          <p:cNvGrpSpPr/>
          <p:nvPr userDrawn="1"/>
        </p:nvGrpSpPr>
        <p:grpSpPr>
          <a:xfrm>
            <a:off x="256149" y="5186058"/>
            <a:ext cx="8547592" cy="230832"/>
            <a:chOff x="256149" y="5038911"/>
            <a:chExt cx="8547592" cy="230832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9E028B0-DD15-D949-BB86-A4D3DB5DB560}"/>
                </a:ext>
              </a:extLst>
            </p:cNvPr>
            <p:cNvSpPr/>
            <p:nvPr userDrawn="1"/>
          </p:nvSpPr>
          <p:spPr>
            <a:xfrm>
              <a:off x="256149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ississippi - MS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13FB3D2-99D0-0D41-A2A0-13D9211C5244}"/>
                </a:ext>
              </a:extLst>
            </p:cNvPr>
            <p:cNvSpPr/>
            <p:nvPr userDrawn="1"/>
          </p:nvSpPr>
          <p:spPr>
            <a:xfrm>
              <a:off x="1969117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vada - NV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802CCC-B242-D94A-84BD-64EB7E523FD0}"/>
                </a:ext>
              </a:extLst>
            </p:cNvPr>
            <p:cNvSpPr/>
            <p:nvPr userDrawn="1"/>
          </p:nvSpPr>
          <p:spPr>
            <a:xfrm>
              <a:off x="3682085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w York - NY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89F7F65-F092-7D48-B8C4-6FCE68083E45}"/>
                </a:ext>
              </a:extLst>
            </p:cNvPr>
            <p:cNvSpPr/>
            <p:nvPr userDrawn="1"/>
          </p:nvSpPr>
          <p:spPr>
            <a:xfrm>
              <a:off x="5395053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Oklahoma - OK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767934A0-2880-3944-BAC9-C22148AB6D86}"/>
                </a:ext>
              </a:extLst>
            </p:cNvPr>
            <p:cNvSpPr/>
            <p:nvPr userDrawn="1"/>
          </p:nvSpPr>
          <p:spPr>
            <a:xfrm>
              <a:off x="7108021" y="5038911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outh Carolina - SC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4A8B039-C204-714B-AE1C-9E4E1194106E}"/>
              </a:ext>
            </a:extLst>
          </p:cNvPr>
          <p:cNvGrpSpPr/>
          <p:nvPr userDrawn="1"/>
        </p:nvGrpSpPr>
        <p:grpSpPr>
          <a:xfrm>
            <a:off x="256149" y="6504814"/>
            <a:ext cx="8547592" cy="230832"/>
            <a:chOff x="256149" y="6504814"/>
            <a:chExt cx="8547592" cy="230832"/>
          </a:xfrm>
        </p:grpSpPr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60438AC1-696F-AA4E-837E-649045A582BF}"/>
                </a:ext>
              </a:extLst>
            </p:cNvPr>
            <p:cNvSpPr/>
            <p:nvPr userDrawn="1"/>
          </p:nvSpPr>
          <p:spPr>
            <a:xfrm>
              <a:off x="256149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issouri - MO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096D3E80-0246-4543-B750-47FFADA3D5A8}"/>
                </a:ext>
              </a:extLst>
            </p:cNvPr>
            <p:cNvSpPr/>
            <p:nvPr userDrawn="1"/>
          </p:nvSpPr>
          <p:spPr>
            <a:xfrm>
              <a:off x="1969117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ew Hampshire - NH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943CDDF-6A54-DD49-B452-7622322CF399}"/>
                </a:ext>
              </a:extLst>
            </p:cNvPr>
            <p:cNvSpPr/>
            <p:nvPr userDrawn="1"/>
          </p:nvSpPr>
          <p:spPr>
            <a:xfrm>
              <a:off x="3682085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orth Carolina - NC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E9BF15A-9C07-B546-9519-C126C0A46AD2}"/>
                </a:ext>
              </a:extLst>
            </p:cNvPr>
            <p:cNvSpPr/>
            <p:nvPr userDrawn="1"/>
          </p:nvSpPr>
          <p:spPr>
            <a:xfrm>
              <a:off x="5395053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Oregon - OR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E6FEB05-74D4-BC4B-88BA-8C241995A5B5}"/>
                </a:ext>
              </a:extLst>
            </p:cNvPr>
            <p:cNvSpPr/>
            <p:nvPr userDrawn="1"/>
          </p:nvSpPr>
          <p:spPr>
            <a:xfrm>
              <a:off x="7108021" y="6504814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outh Dakota - SD</a:t>
              </a:r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102F2CF5-D5D7-144C-B62D-67AF46B9B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34020" y="1715357"/>
            <a:ext cx="774700" cy="4064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E32458B-DBBC-064F-BB1E-83BB4CCA19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27377" y="2934921"/>
            <a:ext cx="622300" cy="77470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6C44619-75E0-6046-B5D0-BB0F9609C99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02242" y="4379608"/>
            <a:ext cx="812800" cy="63500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66F5942E-CDEB-A043-8C3A-1E8BFEF4317A}"/>
              </a:ext>
            </a:extLst>
          </p:cNvPr>
          <p:cNvGrpSpPr/>
          <p:nvPr userDrawn="1"/>
        </p:nvGrpSpPr>
        <p:grpSpPr>
          <a:xfrm>
            <a:off x="647122" y="1493802"/>
            <a:ext cx="914400" cy="4823345"/>
            <a:chOff x="533074" y="1480407"/>
            <a:chExt cx="914400" cy="4823345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6399D9C-B7F5-424E-8D67-C068439DB6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533074" y="1480407"/>
              <a:ext cx="914400" cy="8763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C2D08A2-9110-1744-9504-88533E8754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577524" y="2947621"/>
              <a:ext cx="825500" cy="7493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F05DAF3-B5A8-5D4C-A656-131B9041C6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717224" y="4252608"/>
              <a:ext cx="546100" cy="8890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10E6BCF-A506-2745-BA41-27C50408B8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577524" y="5617952"/>
              <a:ext cx="825500" cy="685800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23FB094-034E-8447-8CF6-0DBEA655764A}"/>
              </a:ext>
            </a:extLst>
          </p:cNvPr>
          <p:cNvGrpSpPr/>
          <p:nvPr userDrawn="1"/>
        </p:nvGrpSpPr>
        <p:grpSpPr>
          <a:xfrm>
            <a:off x="2385177" y="1728057"/>
            <a:ext cx="863600" cy="4689995"/>
            <a:chOff x="2324100" y="1728057"/>
            <a:chExt cx="863600" cy="4689995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989A2D2-2AD3-CC40-B28B-E298FC8124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336800" y="1728057"/>
              <a:ext cx="838200" cy="38100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7F73098-0084-4043-8F5A-FFDB52A1C5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2324100" y="3144471"/>
              <a:ext cx="863600" cy="3556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E414B66-1AA3-144C-B519-4C1DB31EBC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2425700" y="4233558"/>
              <a:ext cx="660400" cy="92710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A763CDFD-5EF9-8045-BA23-4B164D1DE66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2489200" y="5503652"/>
              <a:ext cx="533400" cy="914400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9DFB285-FB44-F94A-A13C-1DF7CFA819BC}"/>
              </a:ext>
            </a:extLst>
          </p:cNvPr>
          <p:cNvGrpSpPr/>
          <p:nvPr userDrawn="1"/>
        </p:nvGrpSpPr>
        <p:grpSpPr>
          <a:xfrm>
            <a:off x="4019787" y="1480407"/>
            <a:ext cx="1016000" cy="4677295"/>
            <a:chOff x="4001874" y="1474057"/>
            <a:chExt cx="1016000" cy="4677295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00D828B6-1992-334B-9B5D-A89FFAB2DA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4255874" y="1474057"/>
              <a:ext cx="508000" cy="88900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5AF0836-DE83-5F4A-B651-F1F1088234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4135224" y="2903171"/>
              <a:ext cx="749300" cy="838200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0144631-E43C-D440-A20C-AF4AC4A3FB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4027274" y="4366908"/>
              <a:ext cx="965200" cy="660400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22E6FF1-5CA5-3A48-81AA-291038F753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4001874" y="5770352"/>
              <a:ext cx="1016000" cy="381000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9B8874E-DD87-2B4D-A295-6BD4107E8F2D}"/>
              </a:ext>
            </a:extLst>
          </p:cNvPr>
          <p:cNvGrpSpPr/>
          <p:nvPr userDrawn="1"/>
        </p:nvGrpSpPr>
        <p:grpSpPr>
          <a:xfrm>
            <a:off x="5783808" y="1728057"/>
            <a:ext cx="927100" cy="4537595"/>
            <a:chOff x="5776268" y="1715357"/>
            <a:chExt cx="927100" cy="4537595"/>
          </a:xfrm>
        </p:grpSpPr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DF63510-729F-9D4B-83D7-06A26B44A7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5827068" y="1715357"/>
              <a:ext cx="825500" cy="40640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106FF262-D6DE-7948-A0F4-DEA307F5AF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5865168" y="2947621"/>
              <a:ext cx="749300" cy="749300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0A9BC01B-E8A9-4C41-A72F-4288E1E623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/>
            <a:stretch>
              <a:fillRect/>
            </a:stretch>
          </p:blipFill>
          <p:spPr>
            <a:xfrm>
              <a:off x="5788968" y="4487558"/>
              <a:ext cx="901700" cy="419100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A736D2AD-54BA-4D4F-858F-6E755320CF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5776268" y="5668752"/>
              <a:ext cx="927100" cy="584200"/>
            </a:xfrm>
            <a:prstGeom prst="rect">
              <a:avLst/>
            </a:prstGeom>
          </p:spPr>
        </p:pic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87084F38-07EF-8B4E-9612-4D4C40BB9917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492331" y="5706852"/>
            <a:ext cx="9271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2620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ymbol Library State Icon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63789" y="984455"/>
            <a:ext cx="7886700" cy="3216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7CB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TATE ICO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9D4260F-A737-2A43-B704-B32AB4C3455D}"/>
              </a:ext>
            </a:extLst>
          </p:cNvPr>
          <p:cNvGrpSpPr/>
          <p:nvPr userDrawn="1"/>
        </p:nvGrpSpPr>
        <p:grpSpPr>
          <a:xfrm>
            <a:off x="256149" y="2472346"/>
            <a:ext cx="5121656" cy="230832"/>
            <a:chOff x="256149" y="2472346"/>
            <a:chExt cx="5121656" cy="230832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7CD4DE5-4EFD-2848-851A-195EF6B83DB3}"/>
                </a:ext>
              </a:extLst>
            </p:cNvPr>
            <p:cNvSpPr/>
            <p:nvPr userDrawn="1"/>
          </p:nvSpPr>
          <p:spPr>
            <a:xfrm>
              <a:off x="256149" y="2472346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Tennessee - TN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8C407940-39E3-094B-AE4B-1A9CBEF55312}"/>
                </a:ext>
              </a:extLst>
            </p:cNvPr>
            <p:cNvSpPr/>
            <p:nvPr userDrawn="1"/>
          </p:nvSpPr>
          <p:spPr>
            <a:xfrm>
              <a:off x="1969117" y="2472346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Vermont - VT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49932A65-28E1-E84A-AAF5-6F9E2A95F06C}"/>
                </a:ext>
              </a:extLst>
            </p:cNvPr>
            <p:cNvSpPr/>
            <p:nvPr userDrawn="1"/>
          </p:nvSpPr>
          <p:spPr>
            <a:xfrm>
              <a:off x="3682085" y="2472346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West Virginia - WV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44D4D45-4D17-3040-BC10-07B33D3B6B3E}"/>
              </a:ext>
            </a:extLst>
          </p:cNvPr>
          <p:cNvGrpSpPr/>
          <p:nvPr userDrawn="1"/>
        </p:nvGrpSpPr>
        <p:grpSpPr>
          <a:xfrm>
            <a:off x="256149" y="3841902"/>
            <a:ext cx="5121656" cy="230832"/>
            <a:chOff x="256149" y="3841902"/>
            <a:chExt cx="5121656" cy="230832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98EE90F-BB72-654D-8D4D-038315D94D64}"/>
                </a:ext>
              </a:extLst>
            </p:cNvPr>
            <p:cNvSpPr/>
            <p:nvPr userDrawn="1"/>
          </p:nvSpPr>
          <p:spPr>
            <a:xfrm>
              <a:off x="256149" y="38419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Texas - TX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8BBD9CD-E4A7-8F4B-985D-26077FA697A1}"/>
                </a:ext>
              </a:extLst>
            </p:cNvPr>
            <p:cNvSpPr/>
            <p:nvPr userDrawn="1"/>
          </p:nvSpPr>
          <p:spPr>
            <a:xfrm>
              <a:off x="1969117" y="38419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Virginia - VA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F9380669-E66F-9442-BAE8-0A6710F6015C}"/>
                </a:ext>
              </a:extLst>
            </p:cNvPr>
            <p:cNvSpPr/>
            <p:nvPr userDrawn="1"/>
          </p:nvSpPr>
          <p:spPr>
            <a:xfrm>
              <a:off x="3682085" y="3841902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Wisconsin - WI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8F6CA02-97E4-154F-9382-880B3962D255}"/>
              </a:ext>
            </a:extLst>
          </p:cNvPr>
          <p:cNvGrpSpPr/>
          <p:nvPr userDrawn="1"/>
        </p:nvGrpSpPr>
        <p:grpSpPr>
          <a:xfrm>
            <a:off x="256149" y="5186058"/>
            <a:ext cx="5121656" cy="230832"/>
            <a:chOff x="256149" y="5186058"/>
            <a:chExt cx="5121656" cy="230832"/>
          </a:xfrm>
        </p:grpSpPr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79E028B0-DD15-D949-BB86-A4D3DB5DB560}"/>
                </a:ext>
              </a:extLst>
            </p:cNvPr>
            <p:cNvSpPr/>
            <p:nvPr userDrawn="1"/>
          </p:nvSpPr>
          <p:spPr>
            <a:xfrm>
              <a:off x="256149" y="5186058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Utah - UT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013FB3D2-99D0-0D41-A2A0-13D9211C5244}"/>
                </a:ext>
              </a:extLst>
            </p:cNvPr>
            <p:cNvSpPr/>
            <p:nvPr userDrawn="1"/>
          </p:nvSpPr>
          <p:spPr>
            <a:xfrm>
              <a:off x="1969117" y="5186058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Washington - WA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802CCC-B242-D94A-84BD-64EB7E523FD0}"/>
                </a:ext>
              </a:extLst>
            </p:cNvPr>
            <p:cNvSpPr/>
            <p:nvPr userDrawn="1"/>
          </p:nvSpPr>
          <p:spPr>
            <a:xfrm>
              <a:off x="3682085" y="5186058"/>
              <a:ext cx="1695720" cy="2308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900" b="0" i="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Wyoming - WY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1B8F1B61-C26A-1441-B8A6-F404E31BAD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4951" y="1878663"/>
            <a:ext cx="1155700" cy="2667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981DD8A-C2EC-3142-8FCB-4574592673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7759" y="2848075"/>
            <a:ext cx="952500" cy="914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977DE0B-EFF1-9141-A0E8-1E65423A6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3009" y="4192703"/>
            <a:ext cx="774700" cy="9271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C340CEF-597D-D046-94EA-F3219A095D3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96302" y="1569173"/>
            <a:ext cx="609600" cy="8509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89B6FEE-9F6D-2442-BF93-1590058F9B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185152" y="3072834"/>
            <a:ext cx="1231900" cy="50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86BF953-B425-FD41-B5B7-9A4C8FD1B7A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18502" y="4423812"/>
            <a:ext cx="965200" cy="508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C07494F-2E5F-F849-BACA-09EECD4C0BD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123545" y="1636514"/>
            <a:ext cx="812800" cy="6731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7C48BB0-89DD-3B4F-BB3E-962A5F69C70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110845" y="2930625"/>
            <a:ext cx="838200" cy="7493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5BB6DD89-95F0-DD4B-BDF9-6F5F9289AB6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104495" y="4346088"/>
            <a:ext cx="850900" cy="58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85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76923" y="2799517"/>
            <a:ext cx="8625030" cy="11789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3600" b="1" i="0" kern="1200" cap="all" spc="-150" baseline="0" dirty="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3pPr>
            <a:lvl4pPr marL="13716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4pPr>
            <a:lvl5pPr marL="1828800" indent="0">
              <a:buNone/>
              <a:defRPr sz="12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29BFE5-4C5B-884E-B9E3-CD9FCB0AC6B8}"/>
              </a:ext>
            </a:extLst>
          </p:cNvPr>
          <p:cNvSpPr txBox="1"/>
          <p:nvPr userDrawn="1"/>
        </p:nvSpPr>
        <p:spPr>
          <a:xfrm>
            <a:off x="4820478" y="272332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endParaRPr lang="en-US" sz="4000" b="1" dirty="0">
              <a:solidFill>
                <a:srgbClr val="00376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4A58E23B-D143-4686-8C03-628BEC826AA6}"/>
              </a:ext>
            </a:extLst>
          </p:cNvPr>
          <p:cNvSpPr/>
          <p:nvPr userDrawn="1"/>
        </p:nvSpPr>
        <p:spPr>
          <a:xfrm>
            <a:off x="1" y="6073391"/>
            <a:ext cx="6599708" cy="395110"/>
          </a:xfrm>
          <a:custGeom>
            <a:avLst/>
            <a:gdLst>
              <a:gd name="connsiteX0" fmla="*/ 0 w 8257733"/>
              <a:gd name="connsiteY0" fmla="*/ 0 h 870439"/>
              <a:gd name="connsiteX1" fmla="*/ 8257733 w 8257733"/>
              <a:gd name="connsiteY1" fmla="*/ 0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7853287 w 8257733"/>
              <a:gd name="connsiteY1" fmla="*/ 8792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  <a:gd name="connsiteX0" fmla="*/ 0 w 8257733"/>
              <a:gd name="connsiteY0" fmla="*/ 0 h 870439"/>
              <a:gd name="connsiteX1" fmla="*/ 8015031 w 8257733"/>
              <a:gd name="connsiteY1" fmla="*/ 8793 h 870439"/>
              <a:gd name="connsiteX2" fmla="*/ 8257733 w 8257733"/>
              <a:gd name="connsiteY2" fmla="*/ 870439 h 870439"/>
              <a:gd name="connsiteX3" fmla="*/ 0 w 8257733"/>
              <a:gd name="connsiteY3" fmla="*/ 870439 h 870439"/>
              <a:gd name="connsiteX4" fmla="*/ 0 w 8257733"/>
              <a:gd name="connsiteY4" fmla="*/ 0 h 870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57733" h="870439">
                <a:moveTo>
                  <a:pt x="0" y="0"/>
                </a:moveTo>
                <a:lnTo>
                  <a:pt x="8015031" y="8793"/>
                </a:lnTo>
                <a:lnTo>
                  <a:pt x="8257733" y="870439"/>
                </a:lnTo>
                <a:lnTo>
                  <a:pt x="0" y="870439"/>
                </a:lnTo>
                <a:lnTo>
                  <a:pt x="0" y="0"/>
                </a:lnTo>
                <a:close/>
              </a:path>
            </a:pathLst>
          </a:cu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3F9783-59C3-2B4D-A10D-3EC418EC0C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474" y="6073391"/>
            <a:ext cx="1949264" cy="3545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0" y="1194108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2493216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306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0" y="1838625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0F27799-DE13-0449-BDE8-6BC8BD284558}"/>
              </a:ext>
            </a:extLst>
          </p:cNvPr>
          <p:cNvCxnSpPr/>
          <p:nvPr userDrawn="1"/>
        </p:nvCxnSpPr>
        <p:spPr>
          <a:xfrm>
            <a:off x="559337" y="3092011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Lin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2480213"/>
            <a:ext cx="9144000" cy="631825"/>
          </a:xfrm>
          <a:prstGeom prst="rect">
            <a:avLst/>
          </a:prstGeom>
          <a:solidFill>
            <a:srgbClr val="0037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BF504B-D0F7-774D-B26A-C76242CA0990}"/>
              </a:ext>
            </a:extLst>
          </p:cNvPr>
          <p:cNvCxnSpPr/>
          <p:nvPr userDrawn="1"/>
        </p:nvCxnSpPr>
        <p:spPr>
          <a:xfrm>
            <a:off x="559337" y="373114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57969B-39AE-EE40-A3F6-800E3D5CA450}"/>
              </a:ext>
            </a:extLst>
          </p:cNvPr>
          <p:cNvCxnSpPr/>
          <p:nvPr userDrawn="1"/>
        </p:nvCxnSpPr>
        <p:spPr>
          <a:xfrm>
            <a:off x="559337" y="4324945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4939714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2CA7C3-B13C-7E49-A3BC-9F21B5E380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338" y="1994785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D6A94C3-5DFD-3A4F-A7D9-BEAA7FE892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2210" y="1361220"/>
            <a:ext cx="1162878" cy="358189"/>
          </a:xfrm>
        </p:spPr>
        <p:txBody>
          <a:bodyPr>
            <a:normAutofit/>
          </a:bodyPr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1</a:t>
            </a:r>
          </a:p>
          <a:p>
            <a:pPr lvl="1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6FA0DF7-653F-1A47-B1EF-DFD04A6261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9335" y="1361220"/>
            <a:ext cx="5871280" cy="347662"/>
          </a:xfrm>
        </p:spPr>
        <p:txBody>
          <a:bodyPr/>
          <a:lstStyle>
            <a:lvl1pPr marL="0" indent="0"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Font typeface="Arial" panose="020B0604020202020204" pitchFamily="34" charset="0"/>
              <a:buNone/>
              <a:defRPr lang="en-US" sz="1600" b="0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B45703-4407-634F-8A4D-8B598960AA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2210" y="1994785"/>
            <a:ext cx="1162878" cy="386502"/>
          </a:xfrm>
        </p:spPr>
        <p:txBody>
          <a:bodyPr/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01A44F-10BB-664B-91BD-F19399B66B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2210" y="2616322"/>
            <a:ext cx="1162878" cy="386502"/>
          </a:xfrm>
        </p:spPr>
        <p:txBody>
          <a:bodyPr/>
          <a:lstStyle>
            <a:lvl1pPr marL="0" indent="0"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766D17B-7613-6242-9064-D2E7C98254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42210" y="3237859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BDD03-C079-F04B-A942-8F3F095F1A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42210" y="3859396"/>
            <a:ext cx="1162878" cy="386502"/>
          </a:xfrm>
        </p:spPr>
        <p:txBody>
          <a:bodyPr/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42210" y="4480933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6FCF7A4-FA2E-4846-A126-1692AF3766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9337" y="2616322"/>
            <a:ext cx="5871280" cy="347662"/>
          </a:xfrm>
        </p:spPr>
        <p:txBody>
          <a:bodyPr/>
          <a:lstStyle>
            <a:lvl1pPr marL="0" indent="0">
              <a:buNone/>
              <a:defRPr lang="en-US" sz="1600" b="1" i="0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b="1" i="0" kern="1200" baseline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9E033B0-65B7-D345-A584-E973B5BD27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9338" y="3237859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4A76C1-9E30-7049-88DD-96837A7822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9337" y="385939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336" y="4480933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5127"/>
            <a:ext cx="78867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 cap="all" baseline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555282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42210" y="5102470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9336" y="5102470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78A9F0A-C339-C442-B74E-EF3778F83C83}"/>
              </a:ext>
            </a:extLst>
          </p:cNvPr>
          <p:cNvCxnSpPr/>
          <p:nvPr userDrawn="1"/>
        </p:nvCxnSpPr>
        <p:spPr>
          <a:xfrm>
            <a:off x="559337" y="616346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82537D-BCE7-CA40-8DFB-D6A8653F99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42210" y="5724006"/>
            <a:ext cx="1162878" cy="386502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9AC5EE4-769C-BF43-842C-46A20C0783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9336" y="5724006"/>
            <a:ext cx="5871280" cy="347662"/>
          </a:xfrm>
        </p:spPr>
        <p:txBody>
          <a:bodyPr/>
          <a:lstStyle>
            <a:lvl1pPr marL="0" indent="0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>
              <a:buNone/>
              <a:defRPr lang="en-US" sz="16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/>
            <a:r>
              <a:rPr lang="en-US" dirty="0"/>
              <a:t>Click to Edit. Add the Name of the Slide. Title Case.</a:t>
            </a:r>
          </a:p>
          <a:p>
            <a:pPr lvl="1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847757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B89ADE-B0D1-DF46-926D-AC526264134F}"/>
              </a:ext>
            </a:extLst>
          </p:cNvPr>
          <p:cNvCxnSpPr/>
          <p:nvPr userDrawn="1"/>
        </p:nvCxnSpPr>
        <p:spPr>
          <a:xfrm>
            <a:off x="559337" y="1229192"/>
            <a:ext cx="8145751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3.jpg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3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3.jpg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8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80" r:id="rId2"/>
    <p:sldLayoutId id="2147483737" r:id="rId3"/>
    <p:sldLayoutId id="2147483781" r:id="rId4"/>
    <p:sldLayoutId id="2147483686" r:id="rId5"/>
    <p:sldLayoutId id="2147483782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754362" y="1125206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317223B-E1AD-C849-B586-8238CE44595F}"/>
              </a:ext>
            </a:extLst>
          </p:cNvPr>
          <p:cNvCxnSpPr/>
          <p:nvPr userDrawn="1"/>
        </p:nvCxnSpPr>
        <p:spPr>
          <a:xfrm>
            <a:off x="8622265" y="659599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53557BF-5F56-BD43-8CC1-6814BB6CEDFD}"/>
              </a:ext>
            </a:extLst>
          </p:cNvPr>
          <p:cNvCxnSpPr/>
          <p:nvPr userDrawn="1"/>
        </p:nvCxnSpPr>
        <p:spPr>
          <a:xfrm>
            <a:off x="8554751" y="6509798"/>
            <a:ext cx="0" cy="172387"/>
          </a:xfrm>
          <a:prstGeom prst="line">
            <a:avLst/>
          </a:prstGeom>
          <a:ln>
            <a:solidFill>
              <a:srgbClr val="E1E1E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634ED42-A584-0549-8B1C-4F593041A087}"/>
              </a:ext>
            </a:extLst>
          </p:cNvPr>
          <p:cNvSpPr txBox="1"/>
          <p:nvPr userDrawn="1"/>
        </p:nvSpPr>
        <p:spPr>
          <a:xfrm>
            <a:off x="8656968" y="6480575"/>
            <a:ext cx="456806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fld id="{D50B8269-8AC4-7D46-B90B-70E6EBF161B4}" type="slidenum">
              <a:rPr lang="mr-IN" sz="900" b="1" kern="120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900" b="1" kern="12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7F1FAE-2D41-9B4B-8CA5-C33FBCE28C2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8000091" y="6528848"/>
            <a:ext cx="452444" cy="13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33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9754362" y="1125206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16A1EF-F620-404D-954C-4054AE6E2BAE}"/>
              </a:ext>
            </a:extLst>
          </p:cNvPr>
          <p:cNvCxnSpPr/>
          <p:nvPr userDrawn="1"/>
        </p:nvCxnSpPr>
        <p:spPr>
          <a:xfrm>
            <a:off x="8622265" y="659599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9344BC-7A5F-3042-A40E-C077556DA0DB}"/>
              </a:ext>
            </a:extLst>
          </p:cNvPr>
          <p:cNvCxnSpPr/>
          <p:nvPr userDrawn="1"/>
        </p:nvCxnSpPr>
        <p:spPr>
          <a:xfrm>
            <a:off x="8554751" y="6509798"/>
            <a:ext cx="0" cy="172387"/>
          </a:xfrm>
          <a:prstGeom prst="line">
            <a:avLst/>
          </a:prstGeom>
          <a:ln>
            <a:solidFill>
              <a:srgbClr val="E1E1E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FA783FE-A171-2C43-8804-643EA9FAE7A1}"/>
              </a:ext>
            </a:extLst>
          </p:cNvPr>
          <p:cNvSpPr txBox="1"/>
          <p:nvPr userDrawn="1"/>
        </p:nvSpPr>
        <p:spPr>
          <a:xfrm>
            <a:off x="8656968" y="6480575"/>
            <a:ext cx="456806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fld id="{D50B8269-8AC4-7D46-B90B-70E6EBF161B4}" type="slidenum">
              <a:rPr lang="mr-IN" sz="900" b="1" kern="120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900" b="1" kern="12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7F1FAE-2D41-9B4B-8CA5-C33FBCE28C2E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8000091" y="6528848"/>
            <a:ext cx="452444" cy="13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758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673" r:id="rId2"/>
    <p:sldLayoutId id="2147483783" r:id="rId3"/>
    <p:sldLayoutId id="2147483688" r:id="rId4"/>
    <p:sldLayoutId id="2147483689" r:id="rId5"/>
    <p:sldLayoutId id="2147483698" r:id="rId6"/>
    <p:sldLayoutId id="2147483687" r:id="rId7"/>
    <p:sldLayoutId id="2147483690" r:id="rId8"/>
    <p:sldLayoutId id="2147483736" r:id="rId9"/>
    <p:sldLayoutId id="2147483734" r:id="rId10"/>
    <p:sldLayoutId id="2147483760" r:id="rId11"/>
    <p:sldLayoutId id="2147483759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D4302E-2342-8944-A49A-C94E81D2E9DD}"/>
              </a:ext>
            </a:extLst>
          </p:cNvPr>
          <p:cNvCxnSpPr/>
          <p:nvPr userDrawn="1"/>
        </p:nvCxnSpPr>
        <p:spPr>
          <a:xfrm>
            <a:off x="8622265" y="659599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9E0CD61-1598-C641-8862-F8521E9033B7}"/>
              </a:ext>
            </a:extLst>
          </p:cNvPr>
          <p:cNvCxnSpPr/>
          <p:nvPr userDrawn="1"/>
        </p:nvCxnSpPr>
        <p:spPr>
          <a:xfrm>
            <a:off x="8554751" y="6509798"/>
            <a:ext cx="0" cy="172387"/>
          </a:xfrm>
          <a:prstGeom prst="line">
            <a:avLst/>
          </a:prstGeom>
          <a:ln>
            <a:solidFill>
              <a:srgbClr val="E1E1E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05AB272-A294-E94E-97BC-CDDE41B184A9}"/>
              </a:ext>
            </a:extLst>
          </p:cNvPr>
          <p:cNvSpPr txBox="1"/>
          <p:nvPr userDrawn="1"/>
        </p:nvSpPr>
        <p:spPr>
          <a:xfrm>
            <a:off x="8656968" y="6480575"/>
            <a:ext cx="456806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fld id="{D50B8269-8AC4-7D46-B90B-70E6EBF161B4}" type="slidenum">
              <a:rPr lang="mr-IN" sz="900" b="1" kern="120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900" b="1" kern="12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7F1FAE-2D41-9B4B-8CA5-C33FBCE28C2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8000091" y="6528848"/>
            <a:ext cx="452444" cy="13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31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78" r:id="rId2"/>
    <p:sldLayoutId id="2147483779" r:id="rId3"/>
    <p:sldLayoutId id="2147483746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A7F076-34DB-B24D-8931-4DDC0533DDBC}"/>
              </a:ext>
            </a:extLst>
          </p:cNvPr>
          <p:cNvCxnSpPr/>
          <p:nvPr userDrawn="1"/>
        </p:nvCxnSpPr>
        <p:spPr>
          <a:xfrm>
            <a:off x="8622265" y="659599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7478936-E4AB-674F-B1C0-E94D61665BD5}"/>
              </a:ext>
            </a:extLst>
          </p:cNvPr>
          <p:cNvCxnSpPr/>
          <p:nvPr userDrawn="1"/>
        </p:nvCxnSpPr>
        <p:spPr>
          <a:xfrm>
            <a:off x="8554751" y="6509798"/>
            <a:ext cx="0" cy="172387"/>
          </a:xfrm>
          <a:prstGeom prst="line">
            <a:avLst/>
          </a:prstGeom>
          <a:ln>
            <a:solidFill>
              <a:srgbClr val="E1E1E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4FF755E-FCCE-2B4D-8355-4D2E38AF8B46}"/>
              </a:ext>
            </a:extLst>
          </p:cNvPr>
          <p:cNvSpPr txBox="1"/>
          <p:nvPr userDrawn="1"/>
        </p:nvSpPr>
        <p:spPr>
          <a:xfrm>
            <a:off x="8656968" y="6480575"/>
            <a:ext cx="456806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fld id="{D50B8269-8AC4-7D46-B90B-70E6EBF161B4}" type="slidenum">
              <a:rPr lang="mr-IN" sz="900" b="1" kern="1200" smtClean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900" b="1" kern="12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7F1FAE-2D41-9B4B-8CA5-C33FBCE28C2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8000091" y="6528848"/>
            <a:ext cx="452444" cy="13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71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 userDrawn="1"/>
        </p:nvSpPr>
        <p:spPr>
          <a:xfrm>
            <a:off x="457200" y="365760"/>
            <a:ext cx="7886700" cy="4798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spc="-150" dirty="0"/>
              <a:t>COLOR</a:t>
            </a:r>
            <a:r>
              <a:rPr lang="en-US" sz="3200" spc="-150" baseline="0" dirty="0"/>
              <a:t> PALETTE</a:t>
            </a:r>
            <a:endParaRPr lang="en-US" sz="3200" spc="-150" dirty="0"/>
          </a:p>
        </p:txBody>
      </p:sp>
    </p:spTree>
    <p:extLst>
      <p:ext uri="{BB962C8B-B14F-4D97-AF65-F5344CB8AC3E}">
        <p14:creationId xmlns:p14="http://schemas.microsoft.com/office/powerpoint/2010/main" val="113346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 userDrawn="1"/>
        </p:nvSpPr>
        <p:spPr>
          <a:xfrm>
            <a:off x="457200" y="365760"/>
            <a:ext cx="7886700" cy="4798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sz="3200" spc="-15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9C268C4-1C77-0340-ACBC-0C6AC336CAE7}"/>
              </a:ext>
            </a:extLst>
          </p:cNvPr>
          <p:cNvSpPr txBox="1">
            <a:spLocks/>
          </p:cNvSpPr>
          <p:nvPr userDrawn="1"/>
        </p:nvSpPr>
        <p:spPr>
          <a:xfrm>
            <a:off x="440724" y="365760"/>
            <a:ext cx="7886700" cy="47982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spc="-150" dirty="0"/>
              <a:t>SYMBOL LIBRARY</a:t>
            </a:r>
          </a:p>
        </p:txBody>
      </p:sp>
    </p:spTree>
    <p:extLst>
      <p:ext uri="{BB962C8B-B14F-4D97-AF65-F5344CB8AC3E}">
        <p14:creationId xmlns:p14="http://schemas.microsoft.com/office/powerpoint/2010/main" val="1452746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5" Type="http://schemas.openxmlformats.org/officeDocument/2006/relationships/tags" Target="../tags/tag5.xml"/><Relationship Id="rId61" Type="http://schemas.openxmlformats.org/officeDocument/2006/relationships/chart" Target="../charts/chart10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chart" Target="../charts/chart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slideLayout" Target="../slideLayouts/slideLayout15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2"/>
          </p:nvPr>
        </p:nvSpPr>
        <p:spPr>
          <a:xfrm>
            <a:off x="276923" y="2581543"/>
            <a:ext cx="7952677" cy="1178973"/>
          </a:xfrm>
        </p:spPr>
        <p:txBody>
          <a:bodyPr>
            <a:normAutofit fontScale="92500" lnSpcReduction="20000"/>
          </a:bodyPr>
          <a:lstStyle/>
          <a:p>
            <a:r>
              <a:rPr lang="en-US" dirty="0" err="1"/>
              <a:t>vedp</a:t>
            </a:r>
            <a:r>
              <a:rPr lang="en-US" dirty="0"/>
              <a:t> 2.0: Preparing the commonwealth and its regions for HEALTHY growt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 smtClean="0"/>
              <a:t>August 23, 2018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76923" y="4597880"/>
            <a:ext cx="2372264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endParaRPr lang="en-US" sz="4000" b="1" dirty="0">
              <a:solidFill>
                <a:srgbClr val="00376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6923" y="4494963"/>
            <a:ext cx="2612926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endParaRPr lang="en-US" sz="4000" b="1" dirty="0">
              <a:solidFill>
                <a:srgbClr val="00376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6923" y="5702177"/>
            <a:ext cx="31427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003765"/>
                </a:solidFill>
                <a:cs typeface="Arial" panose="020B0604020202020204" pitchFamily="34" charset="0"/>
              </a:rPr>
              <a:t>VEDP </a:t>
            </a:r>
            <a:r>
              <a:rPr lang="en-US" sz="1600" b="1" dirty="0" smtClean="0">
                <a:solidFill>
                  <a:srgbClr val="003765"/>
                </a:solidFill>
                <a:cs typeface="Arial" panose="020B0604020202020204" pitchFamily="34" charset="0"/>
              </a:rPr>
              <a:t>Welcome </a:t>
            </a:r>
            <a:r>
              <a:rPr lang="en-US" sz="1600" b="1" dirty="0">
                <a:solidFill>
                  <a:srgbClr val="003765"/>
                </a:solidFill>
                <a:cs typeface="Arial" panose="020B0604020202020204" pitchFamily="34" charset="0"/>
              </a:rPr>
              <a:t>and </a:t>
            </a:r>
            <a:r>
              <a:rPr lang="en-US" sz="1600" b="1" dirty="0" smtClean="0">
                <a:solidFill>
                  <a:srgbClr val="003765"/>
                </a:solidFill>
                <a:cs typeface="Arial" panose="020B0604020202020204" pitchFamily="34" charset="0"/>
              </a:rPr>
              <a:t>Overview </a:t>
            </a:r>
            <a:endParaRPr lang="en-US" sz="1600" b="1" dirty="0">
              <a:solidFill>
                <a:srgbClr val="00376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07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95" y="132214"/>
            <a:ext cx="8867955" cy="609234"/>
          </a:xfrm>
        </p:spPr>
        <p:txBody>
          <a:bodyPr anchor="ctr"/>
          <a:lstStyle/>
          <a:p>
            <a:r>
              <a:rPr lang="en-US" cap="all" dirty="0">
                <a:latin typeface="+mj-lt"/>
                <a:ea typeface="+mj-ea"/>
                <a:cs typeface="+mj-cs"/>
              </a:rPr>
              <a:t>These strategies ALSO are designed to ensure that every region wins</a:t>
            </a:r>
            <a:endParaRPr lang="en-US" dirty="0"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" y="959221"/>
            <a:ext cx="8388766" cy="5000996"/>
          </a:xfrm>
          <a:prstGeom prst="rect">
            <a:avLst/>
          </a:prstGeom>
        </p:spPr>
      </p:pic>
      <p:sp>
        <p:nvSpPr>
          <p:cNvPr id="4" name="4. Footnote"/>
          <p:cNvSpPr txBox="1">
            <a:spLocks noChangeArrowheads="1"/>
          </p:cNvSpPr>
          <p:nvPr/>
        </p:nvSpPr>
        <p:spPr bwMode="gray">
          <a:xfrm>
            <a:off x="129395" y="6169944"/>
            <a:ext cx="861853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jobs needed over 10 years to ensure region not subject to economic decline; 2 Analysis shows limited opportunities to capture value without specific synergies from company in question; 3 Quality of product is exceptional, but costs reflect that; 4 Cost is low, with room to improve on quality; 5 An attractive balance of competitive costs and quality; 6 Plus chemicals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129395" y="6464120"/>
            <a:ext cx="72000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IBM-</a:t>
            </a:r>
            <a:r>
              <a:rPr lang="en-US" sz="700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T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700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SI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oody’s Analytics, BLS</a:t>
            </a:r>
          </a:p>
        </p:txBody>
      </p:sp>
    </p:spTree>
    <p:extLst>
      <p:ext uri="{BB962C8B-B14F-4D97-AF65-F5344CB8AC3E}">
        <p14:creationId xmlns:p14="http://schemas.microsoft.com/office/powerpoint/2010/main" val="2643614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517" y="279942"/>
            <a:ext cx="7886700" cy="609234"/>
          </a:xfrm>
        </p:spPr>
        <p:txBody>
          <a:bodyPr anchor="ctr"/>
          <a:lstStyle/>
          <a:p>
            <a:r>
              <a:rPr lang="en-US" dirty="0"/>
              <a:t>VEDP OVERVIEW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03517" y="889176"/>
            <a:ext cx="8362335" cy="475028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363" indent="-233363">
              <a:spcBef>
                <a:spcPts val="12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Principal state economic development organization (EDO) for Va., with 118 employees</a:t>
            </a:r>
          </a:p>
          <a:p>
            <a:pPr marL="233363" indent="-233363">
              <a:spcBef>
                <a:spcPts val="12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17-member governing board that provides continuity across gubernatorial terms</a:t>
            </a:r>
          </a:p>
          <a:p>
            <a:pPr marL="233363" indent="-233363">
              <a:spcBef>
                <a:spcPts val="12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Focus on attracting, retaining, and growing traded-sector firms (&gt;50% out-of-state sales)</a:t>
            </a:r>
          </a:p>
          <a:p>
            <a:pPr marL="633413" lvl="1" indent="-233363">
              <a:spcBef>
                <a:spcPts val="6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E.g., corporate HQs, manufacturers, R&amp;D centers, distribution centers, data centers</a:t>
            </a:r>
          </a:p>
          <a:p>
            <a:pPr marL="633413" lvl="1" indent="-233363">
              <a:spcBef>
                <a:spcPts val="6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Retailers, local service providers benefit indirectly (most have 100% in-state sales)</a:t>
            </a:r>
          </a:p>
          <a:p>
            <a:pPr marL="233363" indent="-233363">
              <a:spcBef>
                <a:spcPts val="12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Seven core divisions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Business Investment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works to secure business recruitment and expansion wins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Marketing and Communications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manages marketing of Va. and announcements</a:t>
            </a:r>
            <a:endParaRPr lang="en-US" sz="1600" b="1" dirty="0" smtClean="0">
              <a:solidFill>
                <a:srgbClr val="003765"/>
              </a:solidFill>
              <a:ea typeface="Arial" charset="0"/>
              <a:cs typeface="Arial" charset="0"/>
            </a:endParaRP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Research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provides data, analysis, and maps to support Business Investment team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International Trade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helps hundreds of companies expand their international sales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Workforce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regionally-based directors manage VJIP workforce grants program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Economic Competitiveness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develops strategies for economic growth and rankings</a:t>
            </a:r>
          </a:p>
          <a:p>
            <a:pPr marL="633413" lvl="1" indent="-233363">
              <a:spcBef>
                <a:spcPts val="1200"/>
              </a:spcBef>
            </a:pPr>
            <a:r>
              <a:rPr lang="en-US" sz="1600" b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Incentives: </a:t>
            </a: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manages incentives, including due diligence, reporting, </a:t>
            </a:r>
            <a:r>
              <a:rPr lang="en-US" sz="1600" dirty="0" err="1" smtClean="0">
                <a:solidFill>
                  <a:srgbClr val="003765"/>
                </a:solidFill>
                <a:ea typeface="Arial" charset="0"/>
                <a:cs typeface="Arial" charset="0"/>
              </a:rPr>
              <a:t>clawbacks</a:t>
            </a:r>
            <a:endParaRPr lang="en-US" sz="1600" dirty="0" smtClean="0">
              <a:solidFill>
                <a:srgbClr val="003765"/>
              </a:solidFill>
              <a:ea typeface="Arial" charset="0"/>
              <a:cs typeface="Arial" charset="0"/>
            </a:endParaRPr>
          </a:p>
          <a:p>
            <a:pPr marL="233363" indent="-233363">
              <a:spcBef>
                <a:spcPts val="1200"/>
              </a:spcBef>
            </a:pPr>
            <a:r>
              <a:rPr lang="en-US" sz="1600" dirty="0" smtClean="0">
                <a:solidFill>
                  <a:srgbClr val="003765"/>
                </a:solidFill>
                <a:ea typeface="Arial" charset="0"/>
                <a:cs typeface="Arial" charset="0"/>
              </a:rPr>
              <a:t>Important support functions: external affairs, IT, fiscal, legal, human resources</a:t>
            </a:r>
            <a:endParaRPr lang="en-US" sz="1600" dirty="0">
              <a:solidFill>
                <a:srgbClr val="003765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44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263" y="166719"/>
            <a:ext cx="8911087" cy="609234"/>
          </a:xfrm>
        </p:spPr>
        <p:txBody>
          <a:bodyPr anchor="ctr"/>
          <a:lstStyle/>
          <a:p>
            <a:r>
              <a:rPr lang="en-US" dirty="0"/>
              <a:t>VEDP CONDUCTS ITS WORK IN CLOSE PARTNERSHIP WITH OTHERS, SUCH AS REGIONAL ECONOMIC DEVELOPMENT ORGANIZA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6371"/>
            <a:ext cx="9144000" cy="520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0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55531"/>
            <a:ext cx="9143999" cy="449042"/>
          </a:xfrm>
        </p:spPr>
        <p:txBody>
          <a:bodyPr anchor="ctr"/>
          <a:lstStyle/>
          <a:p>
            <a:r>
              <a:rPr lang="en-US" altLang="zh-CN" dirty="0"/>
              <a:t>VEDP’S PRINCIPAL ROLES IN VA’S ECONOMIC DEVELOPMENT E</a:t>
            </a:r>
            <a:r>
              <a:rPr lang="en-US" altLang="zh-CN" dirty="0" smtClean="0"/>
              <a:t>COSYSTEM</a:t>
            </a:r>
            <a:r>
              <a:rPr lang="en-US" altLang="zh-CN" dirty="0"/>
              <a:t/>
            </a:r>
            <a:br>
              <a:rPr lang="en-US" altLang="zh-CN" dirty="0"/>
            </a:b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7104430" y="736066"/>
            <a:ext cx="1757263" cy="47658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Illustrative partners</a:t>
            </a:r>
          </a:p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(</a:t>
            </a:r>
            <a:r>
              <a:rPr lang="en-US" sz="1200" b="1" u="sng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ot</a:t>
            </a:r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 comprehensive)</a:t>
            </a:r>
          </a:p>
        </p:txBody>
      </p:sp>
      <p:sp>
        <p:nvSpPr>
          <p:cNvPr id="4" name="Rectangle 3"/>
          <p:cNvSpPr/>
          <p:nvPr/>
        </p:nvSpPr>
        <p:spPr>
          <a:xfrm>
            <a:off x="2307590" y="974361"/>
            <a:ext cx="4526280" cy="5781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alpha val="81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State Leadership Partners (e.g., Governor, General Assembly, Secretary of Commerce and Trade, Secretary of Finance)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307590" y="2043511"/>
            <a:ext cx="4528820" cy="3474720"/>
            <a:chOff x="2511957" y="1627717"/>
            <a:chExt cx="3474720" cy="3474720"/>
          </a:xfrm>
          <a:effectLst/>
        </p:grpSpPr>
        <p:grpSp>
          <p:nvGrpSpPr>
            <p:cNvPr id="6" name="Group 2"/>
            <p:cNvGrpSpPr>
              <a:grpSpLocks/>
            </p:cNvGrpSpPr>
            <p:nvPr/>
          </p:nvGrpSpPr>
          <p:grpSpPr bwMode="auto">
            <a:xfrm>
              <a:off x="2511957" y="1627717"/>
              <a:ext cx="3474720" cy="3474720"/>
              <a:chOff x="2748" y="1974"/>
              <a:chExt cx="1716" cy="1740"/>
            </a:xfrm>
            <a:solidFill>
              <a:schemeClr val="bg1"/>
            </a:solidFill>
          </p:grpSpPr>
          <p:sp>
            <p:nvSpPr>
              <p:cNvPr id="11" name="Rectangle 3"/>
              <p:cNvSpPr>
                <a:spLocks noChangeArrowheads="1"/>
              </p:cNvSpPr>
              <p:nvPr/>
            </p:nvSpPr>
            <p:spPr bwMode="auto">
              <a:xfrm>
                <a:off x="2748" y="1974"/>
                <a:ext cx="858" cy="870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hangingPunct="0">
                  <a:defRPr/>
                </a:pP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2" name="Rectangle 4"/>
              <p:cNvSpPr>
                <a:spLocks noChangeArrowheads="1"/>
              </p:cNvSpPr>
              <p:nvPr/>
            </p:nvSpPr>
            <p:spPr bwMode="auto">
              <a:xfrm>
                <a:off x="3606" y="1974"/>
                <a:ext cx="858" cy="870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hangingPunct="0">
                  <a:defRPr/>
                </a:pP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auto">
              <a:xfrm>
                <a:off x="2748" y="2844"/>
                <a:ext cx="858" cy="870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hangingPunct="0">
                  <a:defRPr/>
                </a:pP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4" name="Rectangle 6"/>
              <p:cNvSpPr>
                <a:spLocks noChangeArrowheads="1"/>
              </p:cNvSpPr>
              <p:nvPr/>
            </p:nvSpPr>
            <p:spPr bwMode="auto">
              <a:xfrm>
                <a:off x="3606" y="2844"/>
                <a:ext cx="858" cy="870"/>
              </a:xfrm>
              <a:prstGeom prst="rect">
                <a:avLst/>
              </a:prstGeom>
              <a:grpFill/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hangingPunct="0">
                  <a:defRPr/>
                </a:pPr>
                <a:endParaRPr lang="en-US" sz="12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2586040" y="1703919"/>
              <a:ext cx="1678297" cy="1569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87400">
                <a:buSzPct val="120000"/>
                <a:defRPr/>
              </a:pPr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Business Development</a:t>
              </a:r>
            </a:p>
            <a:p>
              <a:pPr defTabSz="787400">
                <a:buSzPct val="120000"/>
                <a:defRPr/>
              </a:pPr>
              <a:endParaRPr lang="en-US" sz="6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arketing and branding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Lead generation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Business recruitment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Business retention and expansion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econd-stage firm gardening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ncentives administration</a:t>
              </a: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4330172" y="1703919"/>
              <a:ext cx="1618197" cy="1384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87400">
                <a:buSzPct val="120000"/>
                <a:defRPr/>
              </a:pPr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Product Development</a:t>
              </a:r>
            </a:p>
            <a:p>
              <a:pPr defTabSz="787400">
                <a:buSzPct val="120000"/>
                <a:defRPr/>
              </a:pPr>
              <a:endParaRPr lang="en-US" sz="6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Economic competitiveness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ector growth strategies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ite development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National rankings initiative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External affairs</a:t>
              </a:r>
            </a:p>
            <a:p>
              <a:pPr defTabSz="787400">
                <a:buSzPct val="120000"/>
                <a:defRPr/>
              </a:pPr>
              <a:endParaRPr lang="en-US" sz="12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>
              <a:off x="2586040" y="3457049"/>
              <a:ext cx="1678297" cy="1569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87400">
                <a:buSzPct val="120000"/>
                <a:defRPr/>
              </a:pPr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Int’l. Trade Development</a:t>
              </a:r>
            </a:p>
            <a:p>
              <a:pPr defTabSz="787400">
                <a:buSzPct val="120000"/>
                <a:defRPr/>
              </a:pPr>
              <a:endParaRPr lang="en-US" sz="6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Market research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Regional Export Program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Trade Show Asst. Program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Global Defense Program (GDP)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Virginia Leaders in Export Trade (VALET) Program</a:t>
              </a:r>
            </a:p>
          </p:txBody>
        </p:sp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4330172" y="3457049"/>
              <a:ext cx="1618197" cy="1569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787400">
                <a:buSzPct val="120000"/>
                <a:defRPr/>
              </a:pPr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Workforce Solutions</a:t>
              </a:r>
            </a:p>
            <a:p>
              <a:pPr defTabSz="787400">
                <a:buSzPct val="120000"/>
                <a:defRPr/>
              </a:pPr>
              <a:endParaRPr lang="en-US" sz="6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Customized workforce recruitment and training incentive program (proposed)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Virginia Jobs Investment Program (VJIP)</a:t>
              </a:r>
            </a:p>
            <a:p>
              <a:pPr marL="117475" indent="-117475" defTabSz="787400">
                <a:buSzPct val="120000"/>
                <a:buFont typeface="Arial" charset="0"/>
                <a:buChar char="•"/>
                <a:defRPr/>
              </a:pPr>
              <a:r>
                <a:rPr lang="en-US" sz="1200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Human capital development partnerships and initiatives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2261870" y="1766930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787400">
              <a:buSzPct val="120000"/>
              <a:defRPr/>
            </a:pPr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VEDP’s Principal Economic Development Roles*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310165" y="5703097"/>
            <a:ext cx="4526280" cy="354810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solidFill>
              <a:schemeClr val="tx1">
                <a:alpha val="81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VEDP Support Functions (e.g., Research, HR, IT, Fiscal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89780" y="6294587"/>
            <a:ext cx="828998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700" i="1" dirty="0" smtClean="0">
                <a:solidFill>
                  <a:srgbClr val="003765"/>
                </a:solidFill>
                <a:ea typeface="SimSun" charset="-122"/>
              </a:rPr>
              <a:t>* </a:t>
            </a:r>
            <a:r>
              <a:rPr lang="en-US" altLang="en-US" sz="700" i="1" dirty="0" smtClean="0">
                <a:solidFill>
                  <a:srgbClr val="003765"/>
                </a:solidFill>
                <a:ea typeface="Arial" charset="0"/>
                <a:cs typeface="Arial" charset="0"/>
              </a:rPr>
              <a:t>The </a:t>
            </a:r>
            <a:r>
              <a:rPr lang="en-US" altLang="en-US" sz="700" i="1" dirty="0">
                <a:solidFill>
                  <a:srgbClr val="003765"/>
                </a:solidFill>
                <a:ea typeface="Arial" charset="0"/>
                <a:cs typeface="Arial" charset="0"/>
              </a:rPr>
              <a:t>Code of Virginia also charges VEDP with the duty to “[e]</a:t>
            </a:r>
            <a:r>
              <a:rPr lang="en-US" altLang="en-US" sz="700" i="1" dirty="0" err="1">
                <a:solidFill>
                  <a:srgbClr val="003765"/>
                </a:solidFill>
                <a:ea typeface="Arial" charset="0"/>
                <a:cs typeface="Arial" charset="0"/>
              </a:rPr>
              <a:t>ncourage</a:t>
            </a:r>
            <a:r>
              <a:rPr lang="en-US" altLang="en-US" sz="700" i="1" dirty="0">
                <a:solidFill>
                  <a:srgbClr val="003765"/>
                </a:solidFill>
                <a:ea typeface="Arial" charset="0"/>
                <a:cs typeface="Arial" charset="0"/>
              </a:rPr>
              <a:t> the coordination of the economic development efforts of public institutions, regions, communities, and private industry.”</a:t>
            </a:r>
            <a:endParaRPr lang="en-US" sz="700" i="1" dirty="0">
              <a:solidFill>
                <a:srgbClr val="003765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284564" y="2043511"/>
            <a:ext cx="2071431" cy="1606666"/>
            <a:chOff x="313140" y="1829193"/>
            <a:chExt cx="2071431" cy="1606666"/>
          </a:xfrm>
          <a:solidFill>
            <a:schemeClr val="bg1">
              <a:lumMod val="85000"/>
            </a:schemeClr>
          </a:solidFill>
        </p:grpSpPr>
        <p:sp>
          <p:nvSpPr>
            <p:cNvPr id="21" name="AutoShape 9"/>
            <p:cNvSpPr>
              <a:spLocks noChangeArrowheads="1"/>
            </p:cNvSpPr>
            <p:nvPr/>
          </p:nvSpPr>
          <p:spPr bwMode="auto">
            <a:xfrm rot="10800000" flipH="1">
              <a:off x="313140" y="1829193"/>
              <a:ext cx="2071431" cy="1606666"/>
            </a:xfrm>
            <a:prstGeom prst="homePlate">
              <a:avLst>
                <a:gd name="adj" fmla="val 18079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/>
              <a:endParaRPr lang="en-US" altLang="en-US" sz="1200" dirty="0">
                <a:ea typeface="Arial" charset="0"/>
                <a:cs typeface="Arial" charset="0"/>
              </a:endParaRPr>
            </a:p>
          </p:txBody>
        </p:sp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 flipH="1">
              <a:off x="425296" y="1894266"/>
              <a:ext cx="1642849" cy="14773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144463" indent="-142875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Localities and local economic developer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Regional economic dev. organization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VDOT, VDACS, DEQ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Utilitie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Comm. on Business Dev. and Marketing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84564" y="3910770"/>
            <a:ext cx="2071431" cy="1606666"/>
            <a:chOff x="313140" y="1829193"/>
            <a:chExt cx="2071431" cy="1606666"/>
          </a:xfrm>
          <a:solidFill>
            <a:schemeClr val="bg1">
              <a:lumMod val="85000"/>
            </a:schemeClr>
          </a:solidFill>
        </p:grpSpPr>
        <p:sp>
          <p:nvSpPr>
            <p:cNvPr id="25" name="AutoShape 9"/>
            <p:cNvSpPr>
              <a:spLocks noChangeArrowheads="1"/>
            </p:cNvSpPr>
            <p:nvPr/>
          </p:nvSpPr>
          <p:spPr bwMode="auto">
            <a:xfrm rot="10800000" flipH="1">
              <a:off x="313140" y="1829193"/>
              <a:ext cx="2071431" cy="1606666"/>
            </a:xfrm>
            <a:prstGeom prst="homePlate">
              <a:avLst>
                <a:gd name="adj" fmla="val 18079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/>
              <a:endParaRPr lang="en-US" altLang="en-US" sz="1200" dirty="0">
                <a:ea typeface="Arial" charset="0"/>
                <a:cs typeface="Arial" charset="0"/>
              </a:endParaRPr>
            </a:p>
          </p:txBody>
        </p:sp>
        <p:sp>
          <p:nvSpPr>
            <p:cNvPr id="26" name="Rectangle 12"/>
            <p:cNvSpPr>
              <a:spLocks noChangeArrowheads="1"/>
            </p:cNvSpPr>
            <p:nvPr/>
          </p:nvSpPr>
          <p:spPr bwMode="auto">
            <a:xfrm flipH="1">
              <a:off x="425296" y="1894266"/>
              <a:ext cx="1642849" cy="14773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144463" indent="-142875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Committee on International Trade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Port of Virginia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Virginia Maritime Association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State universitie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U.S. DOC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U.S. SBA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790262" y="2043511"/>
            <a:ext cx="2071431" cy="1606666"/>
            <a:chOff x="5452156" y="1439863"/>
            <a:chExt cx="3562350" cy="4237037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28" name="AutoShape 9"/>
            <p:cNvSpPr>
              <a:spLocks noChangeArrowheads="1"/>
            </p:cNvSpPr>
            <p:nvPr/>
          </p:nvSpPr>
          <p:spPr bwMode="auto">
            <a:xfrm flipH="1">
              <a:off x="5452156" y="1439863"/>
              <a:ext cx="3562350" cy="4237037"/>
            </a:xfrm>
            <a:prstGeom prst="homePlate">
              <a:avLst>
                <a:gd name="adj" fmla="val 18079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/>
              <a:endParaRPr lang="en-US" altLang="en-US" sz="1200" dirty="0">
                <a:ea typeface="Arial" charset="0"/>
                <a:cs typeface="Arial" charset="0"/>
              </a:endParaRPr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auto">
            <a:xfrm flipH="1">
              <a:off x="6144303" y="1611313"/>
              <a:ext cx="2687639" cy="48699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>
                <a:buSzPct val="120000"/>
              </a:pPr>
              <a:r>
                <a:rPr lang="en-US" altLang="ko-KR" sz="1200" b="1" dirty="0">
                  <a:ea typeface="Arial" charset="0"/>
                  <a:cs typeface="Arial" charset="0"/>
                </a:rPr>
                <a:t>GOVA leads</a:t>
              </a:r>
            </a:p>
          </p:txBody>
        </p:sp>
        <p:sp>
          <p:nvSpPr>
            <p:cNvPr id="30" name="Rectangle 12"/>
            <p:cNvSpPr>
              <a:spLocks noChangeArrowheads="1"/>
            </p:cNvSpPr>
            <p:nvPr/>
          </p:nvSpPr>
          <p:spPr bwMode="auto">
            <a:xfrm flipH="1">
              <a:off x="5992447" y="1609340"/>
              <a:ext cx="2722564" cy="38959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144463" indent="-142875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Local and regional economic developer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State, regional, and local chamber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Trade association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GO Virginia / DHCD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Utilitie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SCHEV, VRIC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790262" y="3910770"/>
            <a:ext cx="2071431" cy="1606666"/>
            <a:chOff x="5452156" y="1439863"/>
            <a:chExt cx="3562350" cy="4237037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32" name="AutoShape 9"/>
            <p:cNvSpPr>
              <a:spLocks noChangeArrowheads="1"/>
            </p:cNvSpPr>
            <p:nvPr/>
          </p:nvSpPr>
          <p:spPr bwMode="auto">
            <a:xfrm flipH="1">
              <a:off x="5452156" y="1439863"/>
              <a:ext cx="3562350" cy="4237037"/>
            </a:xfrm>
            <a:prstGeom prst="homePlate">
              <a:avLst>
                <a:gd name="adj" fmla="val 18079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/>
              <a:endParaRPr lang="en-US" altLang="en-US" sz="1200" dirty="0">
                <a:ea typeface="Arial" charset="0"/>
                <a:cs typeface="Arial" charset="0"/>
              </a:endParaRPr>
            </a:p>
          </p:txBody>
        </p:sp>
        <p:sp>
          <p:nvSpPr>
            <p:cNvPr id="33" name="Rectangle 11"/>
            <p:cNvSpPr>
              <a:spLocks noChangeArrowheads="1"/>
            </p:cNvSpPr>
            <p:nvPr/>
          </p:nvSpPr>
          <p:spPr bwMode="auto">
            <a:xfrm flipH="1">
              <a:off x="6144303" y="1611313"/>
              <a:ext cx="2687639" cy="48699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eaLnBrk="1" hangingPunct="1">
                <a:buSzPct val="120000"/>
              </a:pPr>
              <a:r>
                <a:rPr lang="en-US" altLang="ko-KR" sz="1200" b="1" dirty="0">
                  <a:ea typeface="Arial" charset="0"/>
                  <a:cs typeface="Arial" charset="0"/>
                </a:rPr>
                <a:t>GOVA leads</a:t>
              </a:r>
            </a:p>
          </p:txBody>
        </p:sp>
        <p:sp>
          <p:nvSpPr>
            <p:cNvPr id="34" name="Rectangle 12"/>
            <p:cNvSpPr>
              <a:spLocks noChangeArrowheads="1"/>
            </p:cNvSpPr>
            <p:nvPr/>
          </p:nvSpPr>
          <p:spPr bwMode="auto">
            <a:xfrm flipH="1">
              <a:off x="5992447" y="1609340"/>
              <a:ext cx="2722564" cy="34089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1pPr>
              <a:lvl2pPr marL="144463" indent="-142875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-윤고딕130" charset="0"/>
                </a:defRPr>
              </a:lvl9pPr>
            </a:lstStyle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Higher education institutions (4-yr. and community colleges)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Regional workforce development boards</a:t>
              </a:r>
            </a:p>
            <a:p>
              <a:pPr lvl="1" eaLnBrk="1" hangingPunct="1">
                <a:buSzPct val="120000"/>
                <a:buFontTx/>
                <a:buChar char="•"/>
              </a:pPr>
              <a:r>
                <a:rPr lang="en-US" altLang="ko-KR" sz="1200" dirty="0">
                  <a:solidFill>
                    <a:srgbClr val="003765"/>
                  </a:solidFill>
                  <a:ea typeface="Arial" charset="0"/>
                  <a:cs typeface="Arial" charset="0"/>
                </a:rPr>
                <a:t>Recruitment and training contractors</a:t>
              </a:r>
            </a:p>
          </p:txBody>
        </p:sp>
      </p:grpSp>
      <p:sp>
        <p:nvSpPr>
          <p:cNvPr id="35" name="Line 7"/>
          <p:cNvSpPr>
            <a:spLocks noChangeShapeType="1"/>
          </p:cNvSpPr>
          <p:nvPr/>
        </p:nvSpPr>
        <p:spPr bwMode="auto">
          <a:xfrm flipH="1">
            <a:off x="287137" y="1561102"/>
            <a:ext cx="2023027" cy="482827"/>
          </a:xfrm>
          <a:prstGeom prst="line">
            <a:avLst/>
          </a:prstGeom>
          <a:noFill/>
          <a:ln w="12700">
            <a:solidFill>
              <a:sysClr val="windowText" lastClr="000000"/>
            </a:solidFill>
            <a:prstDash val="dash"/>
            <a:round/>
            <a:headEnd type="none" w="sm" len="sm"/>
            <a:tailEnd type="none" w="sm" len="sm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defTabSz="466481">
              <a:defRPr/>
            </a:pPr>
            <a:endParaRPr lang="en-US" sz="1700" kern="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6" name="Line 7"/>
          <p:cNvSpPr>
            <a:spLocks noChangeShapeType="1"/>
          </p:cNvSpPr>
          <p:nvPr/>
        </p:nvSpPr>
        <p:spPr bwMode="auto">
          <a:xfrm flipH="1" flipV="1">
            <a:off x="6814462" y="1547445"/>
            <a:ext cx="2023027" cy="496484"/>
          </a:xfrm>
          <a:prstGeom prst="line">
            <a:avLst/>
          </a:prstGeom>
          <a:noFill/>
          <a:ln w="12700">
            <a:solidFill>
              <a:sysClr val="windowText" lastClr="000000"/>
            </a:solidFill>
            <a:prstDash val="dash"/>
            <a:round/>
            <a:headEnd type="none" w="sm" len="sm"/>
            <a:tailEnd type="none" w="sm" len="sm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defTabSz="466481">
              <a:defRPr/>
            </a:pPr>
            <a:endParaRPr lang="en-US" sz="1700" kern="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38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152" y="157488"/>
            <a:ext cx="8876581" cy="609234"/>
          </a:xfrm>
        </p:spPr>
        <p:txBody>
          <a:bodyPr anchor="ctr"/>
          <a:lstStyle/>
          <a:p>
            <a:r>
              <a:rPr lang="en-US" cap="all" dirty="0">
                <a:latin typeface="Arial"/>
                <a:ea typeface="+mj-ea"/>
                <a:cs typeface="+mj-cs"/>
              </a:rPr>
              <a:t>Our new 5-YEAR (FY19-23) strategic plan has been crafted with extensive stakeholder engagement</a:t>
            </a:r>
            <a:endParaRPr lang="en-US" dirty="0"/>
          </a:p>
        </p:txBody>
      </p:sp>
      <p:sp>
        <p:nvSpPr>
          <p:cNvPr id="3" name="Cloud 2"/>
          <p:cNvSpPr/>
          <p:nvPr/>
        </p:nvSpPr>
        <p:spPr>
          <a:xfrm>
            <a:off x="138023" y="1088684"/>
            <a:ext cx="5146963" cy="930654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Economic development community (VEDA survey, meetings, webinars, workshops)</a:t>
            </a:r>
          </a:p>
        </p:txBody>
      </p:sp>
      <p:sp>
        <p:nvSpPr>
          <p:cNvPr id="4" name="Cloud 3"/>
          <p:cNvSpPr/>
          <p:nvPr/>
        </p:nvSpPr>
        <p:spPr>
          <a:xfrm>
            <a:off x="5712327" y="1091491"/>
            <a:ext cx="2576266" cy="741512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VEDP Staff (surveys, meetings)</a:t>
            </a:r>
          </a:p>
        </p:txBody>
      </p:sp>
      <p:grpSp>
        <p:nvGrpSpPr>
          <p:cNvPr id="11" name="Group 3"/>
          <p:cNvGrpSpPr>
            <a:grpSpLocks/>
          </p:cNvGrpSpPr>
          <p:nvPr/>
        </p:nvGrpSpPr>
        <p:grpSpPr bwMode="auto">
          <a:xfrm>
            <a:off x="2524247" y="1950133"/>
            <a:ext cx="4104132" cy="4445258"/>
            <a:chOff x="2376" y="1824"/>
            <a:chExt cx="1743" cy="1948"/>
          </a:xfrm>
          <a:solidFill>
            <a:schemeClr val="accent1">
              <a:lumMod val="75000"/>
            </a:schemeClr>
          </a:solidFill>
        </p:grpSpPr>
        <p:sp>
          <p:nvSpPr>
            <p:cNvPr id="12" name="Freeform 4"/>
            <p:cNvSpPr>
              <a:spLocks/>
            </p:cNvSpPr>
            <p:nvPr/>
          </p:nvSpPr>
          <p:spPr bwMode="blackWhite">
            <a:xfrm>
              <a:off x="3143" y="1961"/>
              <a:ext cx="976" cy="1811"/>
            </a:xfrm>
            <a:custGeom>
              <a:avLst/>
              <a:gdLst>
                <a:gd name="T0" fmla="*/ 338 w 976"/>
                <a:gd name="T1" fmla="*/ 1654 h 1811"/>
                <a:gd name="T2" fmla="*/ 449 w 976"/>
                <a:gd name="T3" fmla="*/ 1612 h 1811"/>
                <a:gd name="T4" fmla="*/ 553 w 976"/>
                <a:gd name="T5" fmla="*/ 1555 h 1811"/>
                <a:gd name="T6" fmla="*/ 651 w 976"/>
                <a:gd name="T7" fmla="*/ 1485 h 1811"/>
                <a:gd name="T8" fmla="*/ 741 w 976"/>
                <a:gd name="T9" fmla="*/ 1405 h 1811"/>
                <a:gd name="T10" fmla="*/ 818 w 976"/>
                <a:gd name="T11" fmla="*/ 1313 h 1811"/>
                <a:gd name="T12" fmla="*/ 882 w 976"/>
                <a:gd name="T13" fmla="*/ 1210 h 1811"/>
                <a:gd name="T14" fmla="*/ 929 w 976"/>
                <a:gd name="T15" fmla="*/ 1100 h 1811"/>
                <a:gd name="T16" fmla="*/ 961 w 976"/>
                <a:gd name="T17" fmla="*/ 984 h 1811"/>
                <a:gd name="T18" fmla="*/ 975 w 976"/>
                <a:gd name="T19" fmla="*/ 865 h 1811"/>
                <a:gd name="T20" fmla="*/ 972 w 976"/>
                <a:gd name="T21" fmla="*/ 744 h 1811"/>
                <a:gd name="T22" fmla="*/ 950 w 976"/>
                <a:gd name="T23" fmla="*/ 625 h 1811"/>
                <a:gd name="T24" fmla="*/ 913 w 976"/>
                <a:gd name="T25" fmla="*/ 511 h 1811"/>
                <a:gd name="T26" fmla="*/ 859 w 976"/>
                <a:gd name="T27" fmla="*/ 403 h 1811"/>
                <a:gd name="T28" fmla="*/ 790 w 976"/>
                <a:gd name="T29" fmla="*/ 304 h 1811"/>
                <a:gd name="T30" fmla="*/ 708 w 976"/>
                <a:gd name="T31" fmla="*/ 216 h 1811"/>
                <a:gd name="T32" fmla="*/ 614 w 976"/>
                <a:gd name="T33" fmla="*/ 142 h 1811"/>
                <a:gd name="T34" fmla="*/ 510 w 976"/>
                <a:gd name="T35" fmla="*/ 81 h 1811"/>
                <a:gd name="T36" fmla="*/ 398 w 976"/>
                <a:gd name="T37" fmla="*/ 36 h 1811"/>
                <a:gd name="T38" fmla="*/ 281 w 976"/>
                <a:gd name="T39" fmla="*/ 8 h 1811"/>
                <a:gd name="T40" fmla="*/ 294 w 976"/>
                <a:gd name="T41" fmla="*/ 112 h 1811"/>
                <a:gd name="T42" fmla="*/ 226 w 976"/>
                <a:gd name="T43" fmla="*/ 434 h 1811"/>
                <a:gd name="T44" fmla="*/ 306 w 976"/>
                <a:gd name="T45" fmla="*/ 463 h 1811"/>
                <a:gd name="T46" fmla="*/ 379 w 976"/>
                <a:gd name="T47" fmla="*/ 508 h 1811"/>
                <a:gd name="T48" fmla="*/ 440 w 976"/>
                <a:gd name="T49" fmla="*/ 567 h 1811"/>
                <a:gd name="T50" fmla="*/ 489 w 976"/>
                <a:gd name="T51" fmla="*/ 637 h 1811"/>
                <a:gd name="T52" fmla="*/ 521 w 976"/>
                <a:gd name="T53" fmla="*/ 716 h 1811"/>
                <a:gd name="T54" fmla="*/ 538 w 976"/>
                <a:gd name="T55" fmla="*/ 801 h 1811"/>
                <a:gd name="T56" fmla="*/ 536 w 976"/>
                <a:gd name="T57" fmla="*/ 886 h 1811"/>
                <a:gd name="T58" fmla="*/ 517 w 976"/>
                <a:gd name="T59" fmla="*/ 969 h 1811"/>
                <a:gd name="T60" fmla="*/ 482 w 976"/>
                <a:gd name="T61" fmla="*/ 1046 h 1811"/>
                <a:gd name="T62" fmla="*/ 431 w 976"/>
                <a:gd name="T63" fmla="*/ 1115 h 1811"/>
                <a:gd name="T64" fmla="*/ 367 w 976"/>
                <a:gd name="T65" fmla="*/ 1172 h 1811"/>
                <a:gd name="T66" fmla="*/ 293 w 976"/>
                <a:gd name="T67" fmla="*/ 1215 h 1811"/>
                <a:gd name="T68" fmla="*/ 253 w 976"/>
                <a:gd name="T69" fmla="*/ 1093 h 1811"/>
                <a:gd name="T70" fmla="*/ 279 w 976"/>
                <a:gd name="T71" fmla="*/ 1810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grpFill/>
            <a:ln w="12700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Freeform 5"/>
            <p:cNvSpPr>
              <a:spLocks/>
            </p:cNvSpPr>
            <p:nvPr/>
          </p:nvSpPr>
          <p:spPr bwMode="blackWhite">
            <a:xfrm>
              <a:off x="2376" y="1824"/>
              <a:ext cx="1084" cy="1823"/>
            </a:xfrm>
            <a:custGeom>
              <a:avLst/>
              <a:gdLst>
                <a:gd name="T0" fmla="*/ 789 w 1084"/>
                <a:gd name="T1" fmla="*/ 1389 h 1823"/>
                <a:gd name="T2" fmla="*/ 705 w 1084"/>
                <a:gd name="T3" fmla="*/ 1367 h 1823"/>
                <a:gd name="T4" fmla="*/ 628 w 1084"/>
                <a:gd name="T5" fmla="*/ 1327 h 1823"/>
                <a:gd name="T6" fmla="*/ 559 w 1084"/>
                <a:gd name="T7" fmla="*/ 1273 h 1823"/>
                <a:gd name="T8" fmla="*/ 504 w 1084"/>
                <a:gd name="T9" fmla="*/ 1206 h 1823"/>
                <a:gd name="T10" fmla="*/ 464 w 1084"/>
                <a:gd name="T11" fmla="*/ 1129 h 1823"/>
                <a:gd name="T12" fmla="*/ 440 w 1084"/>
                <a:gd name="T13" fmla="*/ 1044 h 1823"/>
                <a:gd name="T14" fmla="*/ 434 w 1084"/>
                <a:gd name="T15" fmla="*/ 958 h 1823"/>
                <a:gd name="T16" fmla="*/ 446 w 1084"/>
                <a:gd name="T17" fmla="*/ 872 h 1823"/>
                <a:gd name="T18" fmla="*/ 475 w 1084"/>
                <a:gd name="T19" fmla="*/ 790 h 1823"/>
                <a:gd name="T20" fmla="*/ 520 w 1084"/>
                <a:gd name="T21" fmla="*/ 716 h 1823"/>
                <a:gd name="T22" fmla="*/ 580 w 1084"/>
                <a:gd name="T23" fmla="*/ 653 h 1823"/>
                <a:gd name="T24" fmla="*/ 651 w 1084"/>
                <a:gd name="T25" fmla="*/ 603 h 1823"/>
                <a:gd name="T26" fmla="*/ 727 w 1084"/>
                <a:gd name="T27" fmla="*/ 569 h 1823"/>
                <a:gd name="T28" fmla="*/ 809 w 1084"/>
                <a:gd name="T29" fmla="*/ 552 h 1823"/>
                <a:gd name="T30" fmla="*/ 851 w 1084"/>
                <a:gd name="T31" fmla="*/ 675 h 1823"/>
                <a:gd name="T32" fmla="*/ 846 w 1084"/>
                <a:gd name="T33" fmla="*/ 0 h 1823"/>
                <a:gd name="T34" fmla="*/ 786 w 1084"/>
                <a:gd name="T35" fmla="*/ 125 h 1823"/>
                <a:gd name="T36" fmla="*/ 668 w 1084"/>
                <a:gd name="T37" fmla="*/ 145 h 1823"/>
                <a:gd name="T38" fmla="*/ 554 w 1084"/>
                <a:gd name="T39" fmla="*/ 181 h 1823"/>
                <a:gd name="T40" fmla="*/ 446 w 1084"/>
                <a:gd name="T41" fmla="*/ 234 h 1823"/>
                <a:gd name="T42" fmla="*/ 344 w 1084"/>
                <a:gd name="T43" fmla="*/ 298 h 1823"/>
                <a:gd name="T44" fmla="*/ 252 w 1084"/>
                <a:gd name="T45" fmla="*/ 376 h 1823"/>
                <a:gd name="T46" fmla="*/ 173 w 1084"/>
                <a:gd name="T47" fmla="*/ 466 h 1823"/>
                <a:gd name="T48" fmla="*/ 107 w 1084"/>
                <a:gd name="T49" fmla="*/ 566 h 1823"/>
                <a:gd name="T50" fmla="*/ 56 w 1084"/>
                <a:gd name="T51" fmla="*/ 675 h 1823"/>
                <a:gd name="T52" fmla="*/ 21 w 1084"/>
                <a:gd name="T53" fmla="*/ 790 h 1823"/>
                <a:gd name="T54" fmla="*/ 3 w 1084"/>
                <a:gd name="T55" fmla="*/ 909 h 1823"/>
                <a:gd name="T56" fmla="*/ 2 w 1084"/>
                <a:gd name="T57" fmla="*/ 1029 h 1823"/>
                <a:gd name="T58" fmla="*/ 18 w 1084"/>
                <a:gd name="T59" fmla="*/ 1148 h 1823"/>
                <a:gd name="T60" fmla="*/ 50 w 1084"/>
                <a:gd name="T61" fmla="*/ 1264 h 1823"/>
                <a:gd name="T62" fmla="*/ 99 w 1084"/>
                <a:gd name="T63" fmla="*/ 1374 h 1823"/>
                <a:gd name="T64" fmla="*/ 163 w 1084"/>
                <a:gd name="T65" fmla="*/ 1476 h 1823"/>
                <a:gd name="T66" fmla="*/ 241 w 1084"/>
                <a:gd name="T67" fmla="*/ 1568 h 1823"/>
                <a:gd name="T68" fmla="*/ 330 w 1084"/>
                <a:gd name="T69" fmla="*/ 1647 h 1823"/>
                <a:gd name="T70" fmla="*/ 431 w 1084"/>
                <a:gd name="T71" fmla="*/ 1713 h 1823"/>
                <a:gd name="T72" fmla="*/ 539 w 1084"/>
                <a:gd name="T73" fmla="*/ 1765 h 1823"/>
                <a:gd name="T74" fmla="*/ 654 w 1084"/>
                <a:gd name="T75" fmla="*/ 1800 h 1823"/>
                <a:gd name="T76" fmla="*/ 772 w 1084"/>
                <a:gd name="T77" fmla="*/ 1819 h 1823"/>
                <a:gd name="T78" fmla="*/ 893 w 1084"/>
                <a:gd name="T79" fmla="*/ 1821 h 1823"/>
                <a:gd name="T80" fmla="*/ 832 w 1084"/>
                <a:gd name="T81" fmla="*/ 1394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grpFill/>
            <a:ln w="12700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400" dirty="0"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622189" y="3733318"/>
            <a:ext cx="1898874" cy="738566"/>
            <a:chOff x="3178807" y="3081831"/>
            <a:chExt cx="2204190" cy="822800"/>
          </a:xfrm>
          <a:solidFill>
            <a:schemeClr val="bg1">
              <a:lumMod val="85000"/>
            </a:schemeClr>
          </a:solidFill>
        </p:grpSpPr>
        <p:cxnSp>
          <p:nvCxnSpPr>
            <p:cNvPr id="16" name="Straight Connector 15"/>
            <p:cNvCxnSpPr/>
            <p:nvPr/>
          </p:nvCxnSpPr>
          <p:spPr>
            <a:xfrm>
              <a:off x="4329361" y="3289777"/>
              <a:ext cx="0" cy="406906"/>
            </a:xfrm>
            <a:prstGeom prst="line">
              <a:avLst/>
            </a:prstGeom>
            <a:grpFill/>
            <a:ln w="34925">
              <a:solidFill>
                <a:srgbClr val="00376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ounded Rectangle 16"/>
            <p:cNvSpPr/>
            <p:nvPr/>
          </p:nvSpPr>
          <p:spPr>
            <a:xfrm>
              <a:off x="3178807" y="3578468"/>
              <a:ext cx="2204190" cy="326163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Steering Committee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435439" y="3081831"/>
              <a:ext cx="1658000" cy="310826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rgbClr val="003765"/>
                  </a:solidFill>
                  <a:latin typeface="Arial" charset="0"/>
                  <a:ea typeface="Arial" charset="0"/>
                  <a:cs typeface="Arial" charset="0"/>
                </a:rPr>
                <a:t>VEDP Board</a:t>
              </a:r>
            </a:p>
          </p:txBody>
        </p:sp>
      </p:grpSp>
      <p:sp>
        <p:nvSpPr>
          <p:cNvPr id="19" name="Rectangle 6"/>
          <p:cNvSpPr>
            <a:spLocks noChangeArrowheads="1"/>
          </p:cNvSpPr>
          <p:nvPr/>
        </p:nvSpPr>
        <p:spPr bwMode="blackWhite">
          <a:xfrm rot="5951556">
            <a:off x="3325338" y="2607762"/>
            <a:ext cx="2714750" cy="2913961"/>
          </a:xfrm>
          <a:custGeom>
            <a:avLst/>
            <a:gdLst>
              <a:gd name="connsiteX0" fmla="*/ 0 w 3250851"/>
              <a:gd name="connsiteY0" fmla="*/ 0 h 759789"/>
              <a:gd name="connsiteX1" fmla="*/ 3250851 w 3250851"/>
              <a:gd name="connsiteY1" fmla="*/ 0 h 759789"/>
              <a:gd name="connsiteX2" fmla="*/ 3250851 w 3250851"/>
              <a:gd name="connsiteY2" fmla="*/ 759789 h 759789"/>
              <a:gd name="connsiteX3" fmla="*/ 0 w 3250851"/>
              <a:gd name="connsiteY3" fmla="*/ 759789 h 759789"/>
              <a:gd name="connsiteX4" fmla="*/ 0 w 3250851"/>
              <a:gd name="connsiteY4" fmla="*/ 0 h 759789"/>
              <a:gd name="connsiteX0" fmla="*/ 0 w 3250851"/>
              <a:gd name="connsiteY0" fmla="*/ 0 h 1846212"/>
              <a:gd name="connsiteX1" fmla="*/ 3250851 w 3250851"/>
              <a:gd name="connsiteY1" fmla="*/ 0 h 1846212"/>
              <a:gd name="connsiteX2" fmla="*/ 3122238 w 3250851"/>
              <a:gd name="connsiteY2" fmla="*/ 1846212 h 1846212"/>
              <a:gd name="connsiteX3" fmla="*/ 0 w 3250851"/>
              <a:gd name="connsiteY3" fmla="*/ 759789 h 1846212"/>
              <a:gd name="connsiteX4" fmla="*/ 0 w 3250851"/>
              <a:gd name="connsiteY4" fmla="*/ 0 h 1846212"/>
              <a:gd name="connsiteX0" fmla="*/ 0 w 3435293"/>
              <a:gd name="connsiteY0" fmla="*/ 0 h 1846212"/>
              <a:gd name="connsiteX1" fmla="*/ 3435293 w 3435293"/>
              <a:gd name="connsiteY1" fmla="*/ 850977 h 1846212"/>
              <a:gd name="connsiteX2" fmla="*/ 3122238 w 3435293"/>
              <a:gd name="connsiteY2" fmla="*/ 1846212 h 1846212"/>
              <a:gd name="connsiteX3" fmla="*/ 0 w 3435293"/>
              <a:gd name="connsiteY3" fmla="*/ 759789 h 1846212"/>
              <a:gd name="connsiteX4" fmla="*/ 0 w 3435293"/>
              <a:gd name="connsiteY4" fmla="*/ 0 h 1846212"/>
              <a:gd name="connsiteX0" fmla="*/ 0 w 3557054"/>
              <a:gd name="connsiteY0" fmla="*/ 0 h 1846212"/>
              <a:gd name="connsiteX1" fmla="*/ 3557054 w 3557054"/>
              <a:gd name="connsiteY1" fmla="*/ 1397203 h 1846212"/>
              <a:gd name="connsiteX2" fmla="*/ 3122238 w 3557054"/>
              <a:gd name="connsiteY2" fmla="*/ 1846212 h 1846212"/>
              <a:gd name="connsiteX3" fmla="*/ 0 w 3557054"/>
              <a:gd name="connsiteY3" fmla="*/ 759789 h 1846212"/>
              <a:gd name="connsiteX4" fmla="*/ 0 w 3557054"/>
              <a:gd name="connsiteY4" fmla="*/ 0 h 1846212"/>
              <a:gd name="connsiteX0" fmla="*/ 0 w 3913695"/>
              <a:gd name="connsiteY0" fmla="*/ 303336 h 1086423"/>
              <a:gd name="connsiteX1" fmla="*/ 3913695 w 3913695"/>
              <a:gd name="connsiteY1" fmla="*/ 637414 h 1086423"/>
              <a:gd name="connsiteX2" fmla="*/ 3478879 w 3913695"/>
              <a:gd name="connsiteY2" fmla="*/ 1086423 h 1086423"/>
              <a:gd name="connsiteX3" fmla="*/ 356641 w 3913695"/>
              <a:gd name="connsiteY3" fmla="*/ 0 h 1086423"/>
              <a:gd name="connsiteX4" fmla="*/ 0 w 3913695"/>
              <a:gd name="connsiteY4" fmla="*/ 303336 h 1086423"/>
              <a:gd name="connsiteX0" fmla="*/ 0 w 3913695"/>
              <a:gd name="connsiteY0" fmla="*/ 346987 h 681065"/>
              <a:gd name="connsiteX1" fmla="*/ 3913695 w 3913695"/>
              <a:gd name="connsiteY1" fmla="*/ 681065 h 681065"/>
              <a:gd name="connsiteX2" fmla="*/ 3577805 w 3913695"/>
              <a:gd name="connsiteY2" fmla="*/ 0 h 681065"/>
              <a:gd name="connsiteX3" fmla="*/ 356641 w 3913695"/>
              <a:gd name="connsiteY3" fmla="*/ 43651 h 681065"/>
              <a:gd name="connsiteX4" fmla="*/ 0 w 3913695"/>
              <a:gd name="connsiteY4" fmla="*/ 346987 h 681065"/>
              <a:gd name="connsiteX0" fmla="*/ 0 w 3913695"/>
              <a:gd name="connsiteY0" fmla="*/ 678483 h 1012561"/>
              <a:gd name="connsiteX1" fmla="*/ 3913695 w 3913695"/>
              <a:gd name="connsiteY1" fmla="*/ 1012561 h 1012561"/>
              <a:gd name="connsiteX2" fmla="*/ 3577805 w 3913695"/>
              <a:gd name="connsiteY2" fmla="*/ 331496 h 1012561"/>
              <a:gd name="connsiteX3" fmla="*/ 356641 w 3913695"/>
              <a:gd name="connsiteY3" fmla="*/ 375147 h 1012561"/>
              <a:gd name="connsiteX4" fmla="*/ 0 w 3913695"/>
              <a:gd name="connsiteY4" fmla="*/ 678483 h 1012561"/>
              <a:gd name="connsiteX0" fmla="*/ 0 w 3913695"/>
              <a:gd name="connsiteY0" fmla="*/ 629333 h 963411"/>
              <a:gd name="connsiteX1" fmla="*/ 3913695 w 3913695"/>
              <a:gd name="connsiteY1" fmla="*/ 963411 h 963411"/>
              <a:gd name="connsiteX2" fmla="*/ 3577805 w 3913695"/>
              <a:gd name="connsiteY2" fmla="*/ 282346 h 963411"/>
              <a:gd name="connsiteX3" fmla="*/ 356641 w 3913695"/>
              <a:gd name="connsiteY3" fmla="*/ 325997 h 963411"/>
              <a:gd name="connsiteX4" fmla="*/ 0 w 3913695"/>
              <a:gd name="connsiteY4" fmla="*/ 629333 h 963411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59292 h 1293370"/>
              <a:gd name="connsiteX1" fmla="*/ 3913695 w 3913695"/>
              <a:gd name="connsiteY1" fmla="*/ 1293370 h 1293370"/>
              <a:gd name="connsiteX2" fmla="*/ 3724922 w 3913695"/>
              <a:gd name="connsiteY2" fmla="*/ 966658 h 1293370"/>
              <a:gd name="connsiteX3" fmla="*/ 1198951 w 3913695"/>
              <a:gd name="connsiteY3" fmla="*/ 464 h 1293370"/>
              <a:gd name="connsiteX4" fmla="*/ 0 w 3913695"/>
              <a:gd name="connsiteY4" fmla="*/ 959292 h 1293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3695" h="1293370">
                <a:moveTo>
                  <a:pt x="0" y="959292"/>
                </a:moveTo>
                <a:lnTo>
                  <a:pt x="3913695" y="1293370"/>
                </a:lnTo>
                <a:lnTo>
                  <a:pt x="3724922" y="966658"/>
                </a:lnTo>
                <a:cubicBezTo>
                  <a:pt x="1951250" y="313723"/>
                  <a:pt x="2272672" y="-14086"/>
                  <a:pt x="1198951" y="464"/>
                </a:cubicBezTo>
                <a:cubicBezTo>
                  <a:pt x="425610" y="1402304"/>
                  <a:pt x="399650" y="639683"/>
                  <a:pt x="0" y="959292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1">
            <a:prstTxWarp prst="textArchUp">
              <a:avLst>
                <a:gd name="adj" fmla="val 9310300"/>
              </a:avLst>
            </a:prstTxWarp>
            <a:spAutoFit/>
          </a:bodyPr>
          <a:lstStyle>
            <a:lvl1pPr defTabSz="78740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 defTabSz="78740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 defTabSz="78740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 defTabSz="78740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 defTabSz="78740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eaLnBrk="1" hangingPunct="1"/>
            <a:r>
              <a:rPr lang="en-US" altLang="zh-CN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raft concepts and ideas</a:t>
            </a: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blackWhite">
          <a:xfrm rot="16395398">
            <a:off x="3180799" y="2725124"/>
            <a:ext cx="2753289" cy="2907975"/>
          </a:xfrm>
          <a:custGeom>
            <a:avLst/>
            <a:gdLst>
              <a:gd name="connsiteX0" fmla="*/ 0 w 3250851"/>
              <a:gd name="connsiteY0" fmla="*/ 0 h 759789"/>
              <a:gd name="connsiteX1" fmla="*/ 3250851 w 3250851"/>
              <a:gd name="connsiteY1" fmla="*/ 0 h 759789"/>
              <a:gd name="connsiteX2" fmla="*/ 3250851 w 3250851"/>
              <a:gd name="connsiteY2" fmla="*/ 759789 h 759789"/>
              <a:gd name="connsiteX3" fmla="*/ 0 w 3250851"/>
              <a:gd name="connsiteY3" fmla="*/ 759789 h 759789"/>
              <a:gd name="connsiteX4" fmla="*/ 0 w 3250851"/>
              <a:gd name="connsiteY4" fmla="*/ 0 h 759789"/>
              <a:gd name="connsiteX0" fmla="*/ 0 w 3250851"/>
              <a:gd name="connsiteY0" fmla="*/ 0 h 1846212"/>
              <a:gd name="connsiteX1" fmla="*/ 3250851 w 3250851"/>
              <a:gd name="connsiteY1" fmla="*/ 0 h 1846212"/>
              <a:gd name="connsiteX2" fmla="*/ 3122238 w 3250851"/>
              <a:gd name="connsiteY2" fmla="*/ 1846212 h 1846212"/>
              <a:gd name="connsiteX3" fmla="*/ 0 w 3250851"/>
              <a:gd name="connsiteY3" fmla="*/ 759789 h 1846212"/>
              <a:gd name="connsiteX4" fmla="*/ 0 w 3250851"/>
              <a:gd name="connsiteY4" fmla="*/ 0 h 1846212"/>
              <a:gd name="connsiteX0" fmla="*/ 0 w 3435293"/>
              <a:gd name="connsiteY0" fmla="*/ 0 h 1846212"/>
              <a:gd name="connsiteX1" fmla="*/ 3435293 w 3435293"/>
              <a:gd name="connsiteY1" fmla="*/ 850977 h 1846212"/>
              <a:gd name="connsiteX2" fmla="*/ 3122238 w 3435293"/>
              <a:gd name="connsiteY2" fmla="*/ 1846212 h 1846212"/>
              <a:gd name="connsiteX3" fmla="*/ 0 w 3435293"/>
              <a:gd name="connsiteY3" fmla="*/ 759789 h 1846212"/>
              <a:gd name="connsiteX4" fmla="*/ 0 w 3435293"/>
              <a:gd name="connsiteY4" fmla="*/ 0 h 1846212"/>
              <a:gd name="connsiteX0" fmla="*/ 0 w 3557054"/>
              <a:gd name="connsiteY0" fmla="*/ 0 h 1846212"/>
              <a:gd name="connsiteX1" fmla="*/ 3557054 w 3557054"/>
              <a:gd name="connsiteY1" fmla="*/ 1397203 h 1846212"/>
              <a:gd name="connsiteX2" fmla="*/ 3122238 w 3557054"/>
              <a:gd name="connsiteY2" fmla="*/ 1846212 h 1846212"/>
              <a:gd name="connsiteX3" fmla="*/ 0 w 3557054"/>
              <a:gd name="connsiteY3" fmla="*/ 759789 h 1846212"/>
              <a:gd name="connsiteX4" fmla="*/ 0 w 3557054"/>
              <a:gd name="connsiteY4" fmla="*/ 0 h 1846212"/>
              <a:gd name="connsiteX0" fmla="*/ 0 w 3913695"/>
              <a:gd name="connsiteY0" fmla="*/ 303336 h 1086423"/>
              <a:gd name="connsiteX1" fmla="*/ 3913695 w 3913695"/>
              <a:gd name="connsiteY1" fmla="*/ 637414 h 1086423"/>
              <a:gd name="connsiteX2" fmla="*/ 3478879 w 3913695"/>
              <a:gd name="connsiteY2" fmla="*/ 1086423 h 1086423"/>
              <a:gd name="connsiteX3" fmla="*/ 356641 w 3913695"/>
              <a:gd name="connsiteY3" fmla="*/ 0 h 1086423"/>
              <a:gd name="connsiteX4" fmla="*/ 0 w 3913695"/>
              <a:gd name="connsiteY4" fmla="*/ 303336 h 1086423"/>
              <a:gd name="connsiteX0" fmla="*/ 0 w 3913695"/>
              <a:gd name="connsiteY0" fmla="*/ 346987 h 681065"/>
              <a:gd name="connsiteX1" fmla="*/ 3913695 w 3913695"/>
              <a:gd name="connsiteY1" fmla="*/ 681065 h 681065"/>
              <a:gd name="connsiteX2" fmla="*/ 3577805 w 3913695"/>
              <a:gd name="connsiteY2" fmla="*/ 0 h 681065"/>
              <a:gd name="connsiteX3" fmla="*/ 356641 w 3913695"/>
              <a:gd name="connsiteY3" fmla="*/ 43651 h 681065"/>
              <a:gd name="connsiteX4" fmla="*/ 0 w 3913695"/>
              <a:gd name="connsiteY4" fmla="*/ 346987 h 681065"/>
              <a:gd name="connsiteX0" fmla="*/ 0 w 3913695"/>
              <a:gd name="connsiteY0" fmla="*/ 678483 h 1012561"/>
              <a:gd name="connsiteX1" fmla="*/ 3913695 w 3913695"/>
              <a:gd name="connsiteY1" fmla="*/ 1012561 h 1012561"/>
              <a:gd name="connsiteX2" fmla="*/ 3577805 w 3913695"/>
              <a:gd name="connsiteY2" fmla="*/ 331496 h 1012561"/>
              <a:gd name="connsiteX3" fmla="*/ 356641 w 3913695"/>
              <a:gd name="connsiteY3" fmla="*/ 375147 h 1012561"/>
              <a:gd name="connsiteX4" fmla="*/ 0 w 3913695"/>
              <a:gd name="connsiteY4" fmla="*/ 678483 h 1012561"/>
              <a:gd name="connsiteX0" fmla="*/ 0 w 3913695"/>
              <a:gd name="connsiteY0" fmla="*/ 629333 h 963411"/>
              <a:gd name="connsiteX1" fmla="*/ 3913695 w 3913695"/>
              <a:gd name="connsiteY1" fmla="*/ 963411 h 963411"/>
              <a:gd name="connsiteX2" fmla="*/ 3577805 w 3913695"/>
              <a:gd name="connsiteY2" fmla="*/ 282346 h 963411"/>
              <a:gd name="connsiteX3" fmla="*/ 356641 w 3913695"/>
              <a:gd name="connsiteY3" fmla="*/ 325997 h 963411"/>
              <a:gd name="connsiteX4" fmla="*/ 0 w 3913695"/>
              <a:gd name="connsiteY4" fmla="*/ 629333 h 963411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63904 h 1297982"/>
              <a:gd name="connsiteX1" fmla="*/ 3913695 w 3913695"/>
              <a:gd name="connsiteY1" fmla="*/ 1297982 h 1297982"/>
              <a:gd name="connsiteX2" fmla="*/ 3577805 w 3913695"/>
              <a:gd name="connsiteY2" fmla="*/ 616917 h 1297982"/>
              <a:gd name="connsiteX3" fmla="*/ 1198951 w 3913695"/>
              <a:gd name="connsiteY3" fmla="*/ 5076 h 1297982"/>
              <a:gd name="connsiteX4" fmla="*/ 0 w 3913695"/>
              <a:gd name="connsiteY4" fmla="*/ 963904 h 1297982"/>
              <a:gd name="connsiteX0" fmla="*/ 0 w 3913695"/>
              <a:gd name="connsiteY0" fmla="*/ 959292 h 1293370"/>
              <a:gd name="connsiteX1" fmla="*/ 3913695 w 3913695"/>
              <a:gd name="connsiteY1" fmla="*/ 1293370 h 1293370"/>
              <a:gd name="connsiteX2" fmla="*/ 3724922 w 3913695"/>
              <a:gd name="connsiteY2" fmla="*/ 966658 h 1293370"/>
              <a:gd name="connsiteX3" fmla="*/ 1198951 w 3913695"/>
              <a:gd name="connsiteY3" fmla="*/ 464 h 1293370"/>
              <a:gd name="connsiteX4" fmla="*/ 0 w 3913695"/>
              <a:gd name="connsiteY4" fmla="*/ 959292 h 1293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3695" h="1293370">
                <a:moveTo>
                  <a:pt x="0" y="959292"/>
                </a:moveTo>
                <a:lnTo>
                  <a:pt x="3913695" y="1293370"/>
                </a:lnTo>
                <a:lnTo>
                  <a:pt x="3724922" y="966658"/>
                </a:lnTo>
                <a:cubicBezTo>
                  <a:pt x="1951250" y="313723"/>
                  <a:pt x="2272672" y="-14086"/>
                  <a:pt x="1198951" y="464"/>
                </a:cubicBezTo>
                <a:cubicBezTo>
                  <a:pt x="425610" y="1402304"/>
                  <a:pt x="399650" y="639683"/>
                  <a:pt x="0" y="959292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1">
            <a:prstTxWarp prst="textArchUp">
              <a:avLst>
                <a:gd name="adj" fmla="val 9310300"/>
              </a:avLst>
            </a:prstTxWarp>
            <a:spAutoFit/>
          </a:bodyPr>
          <a:lstStyle>
            <a:lvl1pPr defTabSz="78740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1pPr>
            <a:lvl2pPr marL="742950" indent="-285750" defTabSz="78740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2pPr>
            <a:lvl3pPr marL="1143000" indent="-228600" defTabSz="78740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3pPr>
            <a:lvl4pPr marL="1600200" indent="-228600" defTabSz="78740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4pPr>
            <a:lvl5pPr marL="2057400" indent="-228600" defTabSz="78740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-윤고딕130" pitchFamily="18" charset="-127"/>
              </a:defRPr>
            </a:lvl9pPr>
          </a:lstStyle>
          <a:p>
            <a:pPr algn="ctr" eaLnBrk="1" hangingPunct="1"/>
            <a:r>
              <a:rPr lang="en-US" altLang="zh-CN" sz="1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Feedback-gathering efforts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636511" y="2040315"/>
            <a:ext cx="2349082" cy="83626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ational Rankings Initiative (partnership of VEDP, Virginia Chamber, and </a:t>
            </a:r>
          </a:p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Va. Tech Pamplin)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064349" y="3155666"/>
            <a:ext cx="1254681" cy="28792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Expert Panel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7377722" y="3805080"/>
            <a:ext cx="1607871" cy="61590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Committee on Business Dev. and Marketing*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7084101" y="4847811"/>
            <a:ext cx="1750937" cy="4965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Committee on International Trade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459119" y="5637443"/>
            <a:ext cx="1628529" cy="4965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REDO CEOs (group meetings)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64046" y="5627280"/>
            <a:ext cx="1741815" cy="5135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Rural “Think Tank” Working Group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377358" y="4494544"/>
            <a:ext cx="1908942" cy="78501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Selected McAuliffe administration leaders (e.g., SCT) (interviews)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539940" y="3502972"/>
            <a:ext cx="1572210" cy="67613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General Assembly leadership (interviews)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03737" y="2208396"/>
            <a:ext cx="2530358" cy="102739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Economic development strategy and action plan (McKinsey/IBM Project guided by regional EDO CEOs and the largest NOVA localities)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32731" y="6530852"/>
            <a:ext cx="780357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700" i="1" dirty="0" smtClean="0">
                <a:ea typeface="SimSun" charset="-122"/>
                <a:cs typeface="Arial" panose="020B0604020202020204" pitchFamily="34" charset="0"/>
              </a:rPr>
              <a:t>* </a:t>
            </a:r>
            <a:r>
              <a:rPr lang="en-US" altLang="en-US" sz="700" i="1" dirty="0" smtClean="0">
                <a:ea typeface="Arial" charset="0"/>
                <a:cs typeface="Arial" panose="020B0604020202020204" pitchFamily="34" charset="0"/>
              </a:rPr>
              <a:t>With </a:t>
            </a:r>
            <a:r>
              <a:rPr lang="en-US" altLang="en-US" sz="700" i="1" dirty="0">
                <a:ea typeface="Arial" charset="0"/>
                <a:cs typeface="Arial" panose="020B0604020202020204" pitchFamily="34" charset="0"/>
              </a:rPr>
              <a:t>timing of committee appointments and Amazon HQ2-related scheduling challenges at VEDP, </a:t>
            </a:r>
            <a:r>
              <a:rPr lang="en-US" altLang="en-US" sz="700" i="1" dirty="0" smtClean="0">
                <a:ea typeface="Arial" charset="0"/>
                <a:cs typeface="Arial" panose="020B0604020202020204" pitchFamily="34" charset="0"/>
              </a:rPr>
              <a:t>this committee </a:t>
            </a:r>
            <a:r>
              <a:rPr lang="en-US" altLang="en-US" sz="700" i="1" dirty="0">
                <a:ea typeface="Arial" charset="0"/>
                <a:cs typeface="Arial" panose="020B0604020202020204" pitchFamily="34" charset="0"/>
              </a:rPr>
              <a:t>was not consulted as extensively as some of the other groups</a:t>
            </a:r>
            <a:endParaRPr lang="en-US" sz="700" i="1" dirty="0">
              <a:cs typeface="Arial" panose="020B0604020202020204" pitchFamily="34" charset="0"/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 flipH="1">
            <a:off x="5676181" y="1704862"/>
            <a:ext cx="411107" cy="626063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flipH="1">
            <a:off x="6410417" y="2827145"/>
            <a:ext cx="273582" cy="234667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6648542" y="3299626"/>
            <a:ext cx="415807" cy="149778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H="1" flipV="1">
            <a:off x="6753905" y="4070165"/>
            <a:ext cx="620887" cy="33053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 flipV="1">
            <a:off x="6651567" y="4668607"/>
            <a:ext cx="458369" cy="213706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 flipV="1">
            <a:off x="6265639" y="5421020"/>
            <a:ext cx="227376" cy="269986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V="1">
            <a:off x="2388706" y="5390245"/>
            <a:ext cx="429252" cy="286096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 flipV="1">
            <a:off x="2263454" y="4420989"/>
            <a:ext cx="221902" cy="135464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2124527" y="3864421"/>
            <a:ext cx="336300" cy="8399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2743200" y="2587925"/>
            <a:ext cx="308894" cy="128935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3463564" y="1923071"/>
            <a:ext cx="221084" cy="339911"/>
          </a:xfrm>
          <a:prstGeom prst="straightConnector1">
            <a:avLst/>
          </a:prstGeom>
          <a:ln w="50800">
            <a:solidFill>
              <a:srgbClr val="00376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78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817" y="140840"/>
            <a:ext cx="8755811" cy="609234"/>
          </a:xfrm>
        </p:spPr>
        <p:txBody>
          <a:bodyPr anchor="ctr"/>
          <a:lstStyle/>
          <a:p>
            <a:r>
              <a:rPr lang="en-US" dirty="0"/>
              <a:t>VA’S ECONOMIC COMPETITIVENESS: </a:t>
            </a:r>
            <a:r>
              <a:rPr lang="en-US" dirty="0" smtClean="0"/>
              <a:t>ABUNDANT </a:t>
            </a:r>
            <a:r>
              <a:rPr lang="en-US" dirty="0"/>
              <a:t>STRENGTHS PARTIALLY OFFSET BY CORRESPONDING </a:t>
            </a:r>
            <a:r>
              <a:rPr lang="en-US" dirty="0" smtClean="0"/>
              <a:t>WEAKNESSES</a:t>
            </a:r>
            <a:endParaRPr lang="en-US" dirty="0"/>
          </a:p>
        </p:txBody>
      </p:sp>
      <p:sp>
        <p:nvSpPr>
          <p:cNvPr id="3" name="TextBox 28"/>
          <p:cNvSpPr txBox="1">
            <a:spLocks noChangeArrowheads="1"/>
          </p:cNvSpPr>
          <p:nvPr/>
        </p:nvSpPr>
        <p:spPr bwMode="auto">
          <a:xfrm>
            <a:off x="201430" y="1117558"/>
            <a:ext cx="4159505" cy="457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2575" indent="-282575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9pPr>
          </a:lstStyle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Top 10 rankings for educational attainment, higher education, K-12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Wide range of attractive small sites (&lt;25 acres) in some regions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Geographic location (e.g., Mid-Atlantic, contiguous with Washington, D.C.)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Below average state/local tax burdens for existing firms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Impressive Port of Va., NOVA airports, and spaceport on the Eastern Shore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Diverse range of high-quality employers and headquarters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Impressive range of federal laboratories, higher ED research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Generally high-quality, high-speed broadband in served areas</a:t>
            </a:r>
            <a:endParaRPr lang="en-US" altLang="en-US" dirty="0">
              <a:solidFill>
                <a:srgbClr val="003765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4" name="TextBox 28"/>
          <p:cNvSpPr txBox="1">
            <a:spLocks noChangeArrowheads="1"/>
          </p:cNvSpPr>
          <p:nvPr/>
        </p:nvSpPr>
        <p:spPr bwMode="auto">
          <a:xfrm>
            <a:off x="4540722" y="1119563"/>
            <a:ext cx="4488977" cy="4570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2575" indent="-282575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9pPr>
          </a:lstStyle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Lack of a customized workforce incentive program offering; insufficient CS pipeline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Meager inventory of large sites (especially 100+ acres) and certified sites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Site development timeline/cost challenges due to lack of investment and topography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Uncompetitive state/local tax burdens for new investment*</a:t>
            </a:r>
            <a:endParaRPr lang="en-US" altLang="en-US" baseline="30000" dirty="0">
              <a:solidFill>
                <a:srgbClr val="003765"/>
              </a:solidFill>
              <a:latin typeface="+mn-lt"/>
              <a:ea typeface="Arial" charset="0"/>
              <a:cs typeface="Arial" charset="0"/>
            </a:endParaRP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Metro, traffic congestion challenges in NOVA; road limitations in ROVA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Unusually high reliance on federal government-related activities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Limited commercialization of intellectual property</a:t>
            </a:r>
          </a:p>
          <a:p>
            <a:pPr marL="181409" indent="-181409" defTabSz="466481" eaLnBrk="1" hangingPunct="1">
              <a:spcBef>
                <a:spcPts val="600"/>
              </a:spcBef>
              <a:buClr>
                <a:srgbClr val="235C83"/>
              </a:buClr>
              <a:buFont typeface="Wingdings" charset="2"/>
              <a:buChar char="§"/>
            </a:pPr>
            <a:r>
              <a:rPr lang="en-US" altLang="en-US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Large swaths of Virginia have no broadband access</a:t>
            </a:r>
          </a:p>
        </p:txBody>
      </p:sp>
      <p:sp>
        <p:nvSpPr>
          <p:cNvPr id="11" name="McK Footnote"/>
          <p:cNvSpPr txBox="1">
            <a:spLocks noChangeArrowheads="1"/>
          </p:cNvSpPr>
          <p:nvPr/>
        </p:nvSpPr>
        <p:spPr bwMode="auto">
          <a:xfrm>
            <a:off x="162817" y="6214093"/>
            <a:ext cx="8575675" cy="34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574675" indent="-574675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1pPr>
            <a:lvl2pPr marL="742950" indent="-285750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2pPr>
            <a:lvl3pPr marL="1143000" indent="-228600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3pPr>
            <a:lvl4pPr marL="1600200" indent="-228600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4pPr>
            <a:lvl5pPr marL="2057400" indent="-228600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-윤고딕130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zh-CN" sz="700" dirty="0">
                <a:solidFill>
                  <a:srgbClr val="003765"/>
                </a:solidFill>
                <a:latin typeface="+mn-lt"/>
                <a:ea typeface="SimSun" charset="-122"/>
              </a:rPr>
              <a:t>	</a:t>
            </a:r>
            <a:r>
              <a:rPr lang="en-US" altLang="zh-CN" sz="700" dirty="0" smtClean="0">
                <a:solidFill>
                  <a:srgbClr val="003765"/>
                </a:solidFill>
                <a:latin typeface="+mn-lt"/>
                <a:ea typeface="SimSun" charset="-122"/>
              </a:rPr>
              <a:t>*</a:t>
            </a:r>
            <a:r>
              <a:rPr lang="en-US" altLang="zh-CN" sz="700" i="1" dirty="0">
                <a:solidFill>
                  <a:srgbClr val="003765"/>
                </a:solidFill>
                <a:latin typeface="+mn-lt"/>
                <a:ea typeface="SimSun" charset="-122"/>
              </a:rPr>
              <a:t>	</a:t>
            </a:r>
            <a:r>
              <a:rPr lang="en-US" altLang="zh-CN" sz="700" i="1" dirty="0" smtClean="0">
                <a:solidFill>
                  <a:srgbClr val="003765"/>
                </a:solidFill>
                <a:latin typeface="+mn-lt"/>
                <a:ea typeface="SimSun" charset="-122"/>
              </a:rPr>
              <a:t> </a:t>
            </a:r>
            <a:r>
              <a:rPr lang="en-US" altLang="en-US" sz="700" i="1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VEDP </a:t>
            </a:r>
            <a:r>
              <a:rPr lang="en-US" altLang="en-US" sz="700" i="1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has identified a potential error in KPMG’s tax rankings that, if confirmed and corrected, could improve Virginia’s state/local tax burden ranking for new, capital-intensive manufacturers from nearly the </a:t>
            </a:r>
            <a:r>
              <a:rPr lang="en-US" altLang="en-US" sz="700" i="1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worst in America </a:t>
            </a:r>
            <a:r>
              <a:rPr lang="en-US" altLang="en-US" sz="700" i="1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to the mid-20s</a:t>
            </a:r>
            <a:endParaRPr lang="en-US" altLang="zh-CN" sz="700" i="1" dirty="0">
              <a:solidFill>
                <a:srgbClr val="003765"/>
              </a:solidFill>
              <a:latin typeface="+mn-lt"/>
              <a:ea typeface="SimSun" charset="-122"/>
            </a:endParaRPr>
          </a:p>
          <a:p>
            <a:pPr eaLnBrk="1" hangingPunct="1">
              <a:spcBef>
                <a:spcPct val="20000"/>
              </a:spcBef>
            </a:pPr>
            <a:r>
              <a:rPr lang="en-US" altLang="zh-CN" sz="700" i="1" dirty="0">
                <a:solidFill>
                  <a:srgbClr val="003765"/>
                </a:solidFill>
                <a:latin typeface="+mn-lt"/>
                <a:ea typeface="SimSun" charset="-122"/>
              </a:rPr>
              <a:t>Source:	</a:t>
            </a:r>
            <a:r>
              <a:rPr lang="en-US" altLang="zh-CN" sz="700" i="1" dirty="0" smtClean="0">
                <a:solidFill>
                  <a:srgbClr val="003765"/>
                </a:solidFill>
                <a:latin typeface="+mn-lt"/>
                <a:ea typeface="SimSun" charset="-122"/>
              </a:rPr>
              <a:t>  U.S</a:t>
            </a:r>
            <a:r>
              <a:rPr lang="en-US" altLang="zh-CN" sz="700" i="1" dirty="0">
                <a:solidFill>
                  <a:srgbClr val="003765"/>
                </a:solidFill>
                <a:latin typeface="+mn-lt"/>
                <a:ea typeface="SimSun" charset="-122"/>
              </a:rPr>
              <a:t>. News &amp; World Report; Tax Foundation/KPMG; interviews with site consultants; McKinsey; VEDP analysis</a:t>
            </a:r>
          </a:p>
        </p:txBody>
      </p:sp>
      <p:sp>
        <p:nvSpPr>
          <p:cNvPr id="14" name="Rectangle 9"/>
          <p:cNvSpPr txBox="1">
            <a:spLocks noChangeArrowheads="1"/>
          </p:cNvSpPr>
          <p:nvPr/>
        </p:nvSpPr>
        <p:spPr bwMode="auto">
          <a:xfrm>
            <a:off x="4555010" y="741978"/>
            <a:ext cx="2940166" cy="24622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-윤고딕150" charset="0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9pPr>
          </a:lstStyle>
          <a:p>
            <a:pPr eaLnBrk="1" hangingPunct="1"/>
            <a:r>
              <a:rPr lang="en-US" altLang="zh-CN" sz="1600" dirty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Weaknesses</a:t>
            </a:r>
          </a:p>
        </p:txBody>
      </p:sp>
      <p:sp>
        <p:nvSpPr>
          <p:cNvPr id="15" name="Rectangle 9"/>
          <p:cNvSpPr txBox="1">
            <a:spLocks noChangeArrowheads="1"/>
          </p:cNvSpPr>
          <p:nvPr/>
        </p:nvSpPr>
        <p:spPr bwMode="auto">
          <a:xfrm>
            <a:off x="215718" y="741978"/>
            <a:ext cx="1511222" cy="24622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-윤고딕150" charset="0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  <a:cs typeface="-윤고딕150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-윤고딕150" pitchFamily="18" charset="-127"/>
              </a:defRPr>
            </a:lvl9pPr>
          </a:lstStyle>
          <a:p>
            <a:pPr eaLnBrk="1" hangingPunct="1"/>
            <a:r>
              <a:rPr lang="en-US" altLang="zh-CN" sz="1600" dirty="0" smtClean="0">
                <a:solidFill>
                  <a:srgbClr val="003765"/>
                </a:solidFill>
                <a:latin typeface="+mn-lt"/>
                <a:ea typeface="Arial" charset="0"/>
                <a:cs typeface="Arial" charset="0"/>
              </a:rPr>
              <a:t>Strengths</a:t>
            </a:r>
            <a:endParaRPr lang="en-US" altLang="zh-CN" sz="1600" dirty="0">
              <a:solidFill>
                <a:srgbClr val="003765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16" name="Line 7"/>
          <p:cNvSpPr>
            <a:spLocks noChangeShapeType="1"/>
          </p:cNvSpPr>
          <p:nvPr/>
        </p:nvSpPr>
        <p:spPr bwMode="auto">
          <a:xfrm flipH="1">
            <a:off x="201430" y="1057827"/>
            <a:ext cx="4036921" cy="0"/>
          </a:xfrm>
          <a:prstGeom prst="line">
            <a:avLst/>
          </a:prstGeom>
          <a:noFill/>
          <a:ln w="12700">
            <a:solidFill>
              <a:sysClr val="windowText" lastClr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defTabSz="466481">
              <a:defRPr/>
            </a:pPr>
            <a:endParaRPr lang="en-US" sz="1700" kern="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Line 7"/>
          <p:cNvSpPr>
            <a:spLocks noChangeShapeType="1"/>
          </p:cNvSpPr>
          <p:nvPr/>
        </p:nvSpPr>
        <p:spPr bwMode="auto">
          <a:xfrm flipH="1">
            <a:off x="4542286" y="1057827"/>
            <a:ext cx="4322209" cy="0"/>
          </a:xfrm>
          <a:prstGeom prst="line">
            <a:avLst/>
          </a:prstGeom>
          <a:noFill/>
          <a:ln w="12700">
            <a:solidFill>
              <a:sysClr val="windowText" lastClr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defTabSz="466481">
              <a:defRPr/>
            </a:pPr>
            <a:endParaRPr lang="en-US" sz="1700" kern="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69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770" y="140840"/>
            <a:ext cx="8902460" cy="609234"/>
          </a:xfrm>
        </p:spPr>
        <p:txBody>
          <a:bodyPr anchor="ctr"/>
          <a:lstStyle/>
          <a:p>
            <a:r>
              <a:rPr lang="en-US" cap="all" dirty="0">
                <a:latin typeface="Arial"/>
                <a:ea typeface="+mj-ea"/>
                <a:cs typeface="+mj-cs"/>
              </a:rPr>
              <a:t>With input from GA leaders, admin., and stakeholders, we crafted five TRANSFORMATIONAL goals for Virginia, VEDP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20770" y="891721"/>
            <a:ext cx="8101933" cy="475028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5275" indent="-295275">
              <a:spcBef>
                <a:spcPts val="2200"/>
              </a:spcBef>
              <a:buFont typeface="+mj-lt"/>
              <a:buAutoNum type="arabicPeriod"/>
            </a:pPr>
            <a:r>
              <a:rPr lang="en-US" sz="1600" b="1" dirty="0" smtClean="0">
                <a:solidFill>
                  <a:srgbClr val="003765"/>
                </a:solidFill>
              </a:rPr>
              <a:t>Robust State Job Growth:</a:t>
            </a:r>
            <a:r>
              <a:rPr lang="en-US" sz="1600" dirty="0" smtClean="0">
                <a:solidFill>
                  <a:srgbClr val="003765"/>
                </a:solidFill>
              </a:rPr>
              <a:t> Over the next several years, position VA to achieve a growth rate (measured by employment and median earned income of workers) among that of the top 5-10 states in the US</a:t>
            </a:r>
          </a:p>
          <a:p>
            <a:pPr marL="295275" indent="-295275">
              <a:spcBef>
                <a:spcPts val="2200"/>
              </a:spcBef>
              <a:buFont typeface="+mj-lt"/>
              <a:buAutoNum type="arabicPeriod"/>
            </a:pPr>
            <a:r>
              <a:rPr lang="en-US" sz="1600" b="1" dirty="0" smtClean="0">
                <a:solidFill>
                  <a:srgbClr val="003765"/>
                </a:solidFill>
              </a:rPr>
              <a:t>Every Region Wins: </a:t>
            </a:r>
            <a:r>
              <a:rPr lang="en-US" sz="1600" dirty="0" smtClean="0">
                <a:solidFill>
                  <a:srgbClr val="003765"/>
                </a:solidFill>
              </a:rPr>
              <a:t>Ensure that every region participates in the growth of the Commonwealth (i.e., all with positive growth in employment, median earnings)</a:t>
            </a:r>
          </a:p>
          <a:p>
            <a:pPr marL="295275" indent="-295275">
              <a:spcBef>
                <a:spcPts val="2200"/>
              </a:spcBef>
              <a:buFont typeface="+mj-lt"/>
              <a:buAutoNum type="arabicPeriod"/>
            </a:pPr>
            <a:r>
              <a:rPr lang="en-US" sz="1600" b="1" dirty="0" smtClean="0">
                <a:solidFill>
                  <a:srgbClr val="003765"/>
                </a:solidFill>
              </a:rPr>
              <a:t>Best State for Business: </a:t>
            </a:r>
            <a:r>
              <a:rPr lang="en-US" sz="1600" dirty="0" smtClean="0">
                <a:solidFill>
                  <a:srgbClr val="003765"/>
                </a:solidFill>
              </a:rPr>
              <a:t>Restore Virginia to its previous leadership position near the top of the national business climate rankings (i.e., average in top 3-5)</a:t>
            </a:r>
          </a:p>
          <a:p>
            <a:pPr marL="295275" indent="-295275">
              <a:spcBef>
                <a:spcPts val="2200"/>
              </a:spcBef>
              <a:buFont typeface="+mj-lt"/>
              <a:buAutoNum type="arabicPeriod"/>
            </a:pPr>
            <a:r>
              <a:rPr lang="en-US" sz="1600" b="1" dirty="0" smtClean="0">
                <a:solidFill>
                  <a:srgbClr val="003765"/>
                </a:solidFill>
              </a:rPr>
              <a:t>Top State EDO: </a:t>
            </a:r>
            <a:r>
              <a:rPr lang="en-US" sz="1600" dirty="0" smtClean="0">
                <a:solidFill>
                  <a:srgbClr val="003765"/>
                </a:solidFill>
              </a:rPr>
              <a:t>Reestablish VEDP as one of America’s premier state EDOs (to help accomplish the top three transformational goals)</a:t>
            </a:r>
          </a:p>
          <a:p>
            <a:pPr marL="295275" indent="-295275">
              <a:spcBef>
                <a:spcPts val="2200"/>
              </a:spcBef>
              <a:buFont typeface="+mj-lt"/>
              <a:buAutoNum type="arabicPeriod"/>
            </a:pPr>
            <a:r>
              <a:rPr lang="en-US" sz="1600" b="1" dirty="0" smtClean="0">
                <a:solidFill>
                  <a:srgbClr val="003765"/>
                </a:solidFill>
              </a:rPr>
              <a:t>Super Collaborator: </a:t>
            </a:r>
            <a:r>
              <a:rPr lang="en-US" sz="1600" dirty="0" smtClean="0">
                <a:solidFill>
                  <a:srgbClr val="003765"/>
                </a:solidFill>
              </a:rPr>
              <a:t>Exhibit collaboration and coordination as hallmarks of VEDP (i.e., place a central focus on the “P” in VEDP)</a:t>
            </a:r>
            <a:endParaRPr lang="en-US" sz="1600" dirty="0">
              <a:solidFill>
                <a:srgbClr val="0037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3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023" y="149466"/>
            <a:ext cx="8833449" cy="609234"/>
          </a:xfrm>
        </p:spPr>
        <p:txBody>
          <a:bodyPr anchor="ctr"/>
          <a:lstStyle/>
          <a:p>
            <a:r>
              <a:rPr lang="en-US" cap="all" dirty="0">
                <a:latin typeface="Arial"/>
                <a:ea typeface="+mj-ea"/>
                <a:cs typeface="+mj-cs"/>
              </a:rPr>
              <a:t>Virginia’s historical growth patterns have been unevenly distributed across regions</a:t>
            </a:r>
            <a:endParaRPr lang="en-US" dirty="0"/>
          </a:p>
        </p:txBody>
      </p:sp>
      <p:sp>
        <p:nvSpPr>
          <p:cNvPr id="3" name="AutoShape 250"/>
          <p:cNvSpPr>
            <a:spLocks noChangeArrowheads="1"/>
          </p:cNvSpPr>
          <p:nvPr/>
        </p:nvSpPr>
        <p:spPr bwMode="gray">
          <a:xfrm>
            <a:off x="6136728" y="1096757"/>
            <a:ext cx="1495009" cy="3257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000" b="1" baseline="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Employment CAGR,</a:t>
            </a:r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2011-2016, </a:t>
            </a:r>
            <a:r>
              <a:rPr lang="en-US" sz="1000" baseline="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%</a:t>
            </a:r>
          </a:p>
        </p:txBody>
      </p:sp>
      <p:sp>
        <p:nvSpPr>
          <p:cNvPr id="4" name="AutoShape 250"/>
          <p:cNvSpPr>
            <a:spLocks noChangeArrowheads="1"/>
          </p:cNvSpPr>
          <p:nvPr/>
        </p:nvSpPr>
        <p:spPr bwMode="gray">
          <a:xfrm>
            <a:off x="5491578" y="1096757"/>
            <a:ext cx="545478" cy="3256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ew jobs, </a:t>
            </a:r>
            <a:r>
              <a:rPr lang="en-US" sz="100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%</a:t>
            </a:r>
            <a:endParaRPr lang="en-US" sz="1000" baseline="0" dirty="0">
              <a:solidFill>
                <a:srgbClr val="71727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AutoShape 250"/>
          <p:cNvSpPr>
            <a:spLocks noChangeArrowheads="1"/>
          </p:cNvSpPr>
          <p:nvPr/>
        </p:nvSpPr>
        <p:spPr bwMode="gray">
          <a:xfrm>
            <a:off x="3343211" y="1096757"/>
            <a:ext cx="1495009" cy="3256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000" b="1" baseline="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Employment CAGR,</a:t>
            </a:r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2006-2011, </a:t>
            </a:r>
            <a:r>
              <a:rPr lang="en-US" sz="1000" baseline="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%</a:t>
            </a:r>
          </a:p>
        </p:txBody>
      </p:sp>
      <p:sp>
        <p:nvSpPr>
          <p:cNvPr id="6" name="AutoShape 250"/>
          <p:cNvSpPr>
            <a:spLocks noChangeArrowheads="1"/>
          </p:cNvSpPr>
          <p:nvPr/>
        </p:nvSpPr>
        <p:spPr bwMode="gray">
          <a:xfrm>
            <a:off x="284126" y="1250744"/>
            <a:ext cx="2854639" cy="17149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Region</a:t>
            </a:r>
            <a:endParaRPr lang="en-US" sz="1000" baseline="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7" name="AutoShape 249"/>
          <p:cNvCxnSpPr>
            <a:cxnSpLocks noChangeShapeType="1"/>
          </p:cNvCxnSpPr>
          <p:nvPr/>
        </p:nvCxnSpPr>
        <p:spPr bwMode="gray">
          <a:xfrm>
            <a:off x="3343211" y="1422447"/>
            <a:ext cx="1495009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AutoShape 249"/>
          <p:cNvCxnSpPr>
            <a:cxnSpLocks noChangeShapeType="1"/>
            <a:stCxn id="74" idx="4"/>
            <a:endCxn id="74" idx="6"/>
          </p:cNvCxnSpPr>
          <p:nvPr/>
        </p:nvCxnSpPr>
        <p:spPr bwMode="gray">
          <a:xfrm>
            <a:off x="6136728" y="1422482"/>
            <a:ext cx="1495009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AutoShape 249"/>
          <p:cNvCxnSpPr>
            <a:cxnSpLocks noChangeShapeType="1"/>
            <a:stCxn id="80" idx="4"/>
            <a:endCxn id="80" idx="6"/>
          </p:cNvCxnSpPr>
          <p:nvPr/>
        </p:nvCxnSpPr>
        <p:spPr bwMode="gray">
          <a:xfrm>
            <a:off x="5491578" y="1422447"/>
            <a:ext cx="545478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AutoShape 250"/>
          <p:cNvSpPr>
            <a:spLocks noChangeArrowheads="1"/>
          </p:cNvSpPr>
          <p:nvPr/>
        </p:nvSpPr>
        <p:spPr bwMode="gray">
          <a:xfrm>
            <a:off x="4937892" y="1096757"/>
            <a:ext cx="454014" cy="3256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ew jobs, </a:t>
            </a:r>
            <a:r>
              <a:rPr lang="en-US" sz="100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k</a:t>
            </a:r>
            <a:endParaRPr lang="en-US" sz="1000" baseline="0" dirty="0">
              <a:solidFill>
                <a:srgbClr val="71727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1" name="AutoShape 249"/>
          <p:cNvCxnSpPr>
            <a:cxnSpLocks noChangeShapeType="1"/>
            <a:stCxn id="71" idx="4"/>
            <a:endCxn id="71" idx="6"/>
          </p:cNvCxnSpPr>
          <p:nvPr/>
        </p:nvCxnSpPr>
        <p:spPr bwMode="gray">
          <a:xfrm>
            <a:off x="284126" y="1422242"/>
            <a:ext cx="2854639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AutoShape 249"/>
          <p:cNvCxnSpPr>
            <a:cxnSpLocks noChangeShapeType="1"/>
            <a:stCxn id="77" idx="4"/>
            <a:endCxn id="77" idx="6"/>
          </p:cNvCxnSpPr>
          <p:nvPr/>
        </p:nvCxnSpPr>
        <p:spPr bwMode="gray">
          <a:xfrm>
            <a:off x="4937892" y="1422447"/>
            <a:ext cx="454014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AutoShape 249"/>
          <p:cNvCxnSpPr>
            <a:cxnSpLocks noChangeShapeType="1"/>
            <a:stCxn id="83" idx="4"/>
            <a:endCxn id="83" idx="6"/>
          </p:cNvCxnSpPr>
          <p:nvPr/>
        </p:nvCxnSpPr>
        <p:spPr bwMode="gray">
          <a:xfrm>
            <a:off x="7731409" y="1422447"/>
            <a:ext cx="454014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AutoShape 250"/>
          <p:cNvSpPr>
            <a:spLocks noChangeArrowheads="1"/>
          </p:cNvSpPr>
          <p:nvPr/>
        </p:nvSpPr>
        <p:spPr bwMode="gray">
          <a:xfrm>
            <a:off x="7731409" y="1096757"/>
            <a:ext cx="454014" cy="3256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ew jobs, </a:t>
            </a:r>
            <a:r>
              <a:rPr lang="en-US" sz="100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k</a:t>
            </a:r>
            <a:endParaRPr lang="en-US" sz="1000" baseline="0" dirty="0">
              <a:solidFill>
                <a:srgbClr val="71727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5" name="AutoShape 249"/>
          <p:cNvCxnSpPr>
            <a:cxnSpLocks noChangeShapeType="1"/>
            <a:stCxn id="86" idx="4"/>
            <a:endCxn id="86" idx="6"/>
          </p:cNvCxnSpPr>
          <p:nvPr/>
        </p:nvCxnSpPr>
        <p:spPr bwMode="gray">
          <a:xfrm>
            <a:off x="8285093" y="1421964"/>
            <a:ext cx="545478" cy="0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AutoShape 250"/>
          <p:cNvSpPr>
            <a:spLocks noChangeArrowheads="1"/>
          </p:cNvSpPr>
          <p:nvPr/>
        </p:nvSpPr>
        <p:spPr bwMode="gray">
          <a:xfrm>
            <a:off x="8285093" y="1096274"/>
            <a:ext cx="545478" cy="3256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000" b="1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ew jobs, </a:t>
            </a:r>
            <a:r>
              <a:rPr lang="en-US" sz="1000" dirty="0">
                <a:solidFill>
                  <a:srgbClr val="717271"/>
                </a:solidFill>
                <a:latin typeface="Arial" charset="0"/>
                <a:ea typeface="Arial" charset="0"/>
                <a:cs typeface="Arial" charset="0"/>
              </a:rPr>
              <a:t>%</a:t>
            </a:r>
            <a:endParaRPr lang="en-US" sz="1000" baseline="0" dirty="0">
              <a:solidFill>
                <a:srgbClr val="717271"/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7" name="Object 9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045898"/>
              </p:ext>
            </p:extLst>
          </p:nvPr>
        </p:nvGraphicFramePr>
        <p:xfrm>
          <a:off x="3471230" y="1413133"/>
          <a:ext cx="1279532" cy="4675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graphicFrame>
        <p:nvGraphicFramePr>
          <p:cNvPr id="18" name="Object 9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356539"/>
              </p:ext>
            </p:extLst>
          </p:nvPr>
        </p:nvGraphicFramePr>
        <p:xfrm>
          <a:off x="6251575" y="1413133"/>
          <a:ext cx="1279532" cy="4675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19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556001" y="391001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37EB7143-48B9-4A03-A4BC-70F01C43578F}" type="datetime'-''''''''''''0''''.''1''''''''''''''''''''''''''''''''%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575051" y="366236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0A896EE-9F9A-4CB8-9787-0781F86A189A}" type="datetime'''''''''''-''''''0''''''''''.1''%''''''''''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84551" y="465296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E0C1230-07DC-4F91-9879-6D5D3B421B22}" type="datetime'''''''''-0''.7''''''''''''''%''''''''''''''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7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165476" y="560546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A15471C-309E-4A18-B406-A82619FC1FB3}" type="datetime'''''''-''''''''''1''.''''5''''''''''%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1.5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79776" y="511016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03CE23B-D18E-4799-8EAA-1D8B3D5DA4D0}" type="datetime'''''''''''-''''''''''''1''''.''''''''''''''''1''''%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1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75026" y="4876797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6BCE08B-D39A-4555-9D98-88BEE21D2272}" type="datetime'''''''''-0.''''''''''''''''8''''''''''%''''''''''''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8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22626" y="535781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4C494D5-ED2A-487A-B162-813101DD3898}" type="datetime'''-1.''''3''''''''''''''''''%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1.3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527426" y="416718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6010FCA2-C654-44BA-A806-62781B9F4856}" type="datetime'''-''''''''''''''''''0''''''''.''''''''''''''''''''2%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2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073526" y="2957510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A5C0BD2-7EF8-4BB0-9B57-579BD39D9DEB}" type="datetime'''''''''''''''''''''''0.''''''2''''''''''''''''%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2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460751" y="439578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86DA91D-055A-4FDC-893C-61E0AF24BCCB}" type="datetime'''''''''''''''-''0''''''''''.''''''''''''''''''''''''''5%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-0.5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044951" y="3205421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16F4376-A10A-4F9A-93A5-C55E1911CC74}" type="datetime'''''''0''''''.''''''''1''''''''''''''%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11626" y="2699836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21DE589-4C8E-48BA-A37C-B6C94C386EAA}" type="datetime'''''''''''''0''''''''''.4''''''''''''''''''''''''%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4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60839" y="2233609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51E3FF3-A963-4EFE-A42F-34C52CBC031C}" type="datetime'''''0''.''''6''''%''''''''''''''''''''''''''''''''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6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025901" y="346786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E016ECC-E420-4609-9B25-58B7CDAD814E}" type="datetime'''''''''''''''''''0''''''''''''''''''.''''''1%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160839" y="2458984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E43B385-B651-49B3-9D7B-18CF01E841A3}" type="datetime'''''''''''0''''''''''''''''.''''''''''''''''''''''''5''''%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5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68776" y="1994489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5309714-3DEA-45D6-A7E9-FF1EF7D23DF8}" type="datetime'''0.''6''''''''%'''''''''''''''''''''''''''''''''''''''''''''">
              <a:rPr lang="en-US" altLang="en-US" sz="1000" smtClean="0">
                <a:latin typeface="Arial" charset="0"/>
                <a:ea typeface="Arial" charset="0"/>
                <a:cs typeface="Arial" charset="0"/>
                <a:sym typeface="+mn-lt"/>
              </a:rPr>
              <a:pPr/>
              <a:t>0.6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675063" y="1746838"/>
            <a:ext cx="214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9222E20-8862-4B45-BC9E-4B3B5567B130}" type="datetime'''''''''''''''''''''''0''''''''''''''''''''''''%'''''''">
              <a:rPr lang="en-US" altLang="en-US" sz="1000" b="1" smtClean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  <a:sym typeface="+mn-lt"/>
              </a:rPr>
              <a:pPr algn="r"/>
              <a:t>0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64039" y="1502294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9BB95CC-E365-4AE2-B416-CAF5AA04B02A}" type="datetime'''''''''''''''1''''''''''''''''.''3''%'''''''''''">
              <a:rPr lang="en-US" altLang="en-US" sz="1000" b="1" smtClean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  <a:sym typeface="+mn-lt"/>
              </a:rPr>
              <a:pPr/>
              <a:t>1.3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111626" y="583882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883A4DE-BAB6-42CC-A266-BE88A808A101}" type="datetime'''''''0''''''''''''''''''.''''''''5''%'">
              <a:rPr lang="en-US" altLang="en-US" sz="1000" b="1" smtClean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0.5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908713" y="5612199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7364A92-8C1C-4354-B75F-15713AF2B5DA}" type="datetime'''''''0.''''''''''''''''''''''''''''1''''%''''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96438" y="584714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31C0646-5C8A-44FF-874D-E5EB8AE14606}" type="datetime'''0''''''''''''.''6''''''''''%'">
              <a:rPr lang="en-US" altLang="en-US" sz="1000" b="1" smtClean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0.6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452479" y="3676760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2DB1F29-5546-47BE-B87A-CCAF68C6C6FB}" type="datetime'''''''-''''''''''0''.''''''''''''''''''''''''''2''''%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-0.2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068257" y="3927557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F1A1F1D-F0B6-41EC-B541-96241EC29722}" type="datetime'''''1''''''''''''''''''''.''''''''''0''''''''''''%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1.0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918123" y="4890724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8DF42AF-0C76-4936-A77F-8A2A21A9088E}" type="datetime'''0''''''''''''''''''''.''''''''''''''''2''''''''''''''''%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2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969832" y="3202721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4A0AE9A-B548-4DB6-9B41-291E84BD92C4}" type="datetime'''''0''''''.4''''''''''''''''''''''''%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4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981167" y="4166195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19F0B87-2DDD-4515-B596-975375056E08}" type="datetime'''''''''''''''''''''0''''''''''''''''''.''5%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5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013373" y="2444620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B7B6BBF-1A51-4D6D-AF42-BCA1F3921A91}" type="datetime'''''''''''''''''''''''''''''''0''.''''7''%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7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051473" y="222078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2CC0A73-216F-4033-AE25-95EC505636FA}" type="datetime'''''''''''''''''''''''''''''1''''''.''0%''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1.0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032423" y="197313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CEA7E5B-7FF3-4131-97C4-F35CA8F17BA3}" type="datetime'''''''''''''0''''''''''''''''.''8%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8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943398" y="4602033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189D85C-2EC6-4BC1-A92A-56C4893DD813}" type="datetime'-3''''''.''''''''''1%''''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-3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918123" y="3440288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0D071F8-7246-4A92-A026-6258E2A64BD8}" type="datetime'''''''''0''''''''''''''''''''''''''.2''''%''''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2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891341" y="5100417"/>
            <a:ext cx="214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BAB05BC-AEA7-4245-BCC0-E70DA4D83B40}" type="datetime'''0''''''''''''%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165011" y="2720980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4AB9A00-8649-40C3-8812-F6A6980984F8}" type="datetime'''1.''''''''''''''''''''''6''%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1.6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984798" y="174453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EBD3634-91D4-40DD-B380-EFC0F417C95E}" type="datetime'''0''''''''''''''''''''''''.6''''''''''''%'''''''''''''">
              <a:rPr lang="en-US" altLang="en-US" sz="1000" b="1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0.6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051473" y="1496883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121B91-4264-4DE4-ACD1-6130CB6E148E}" type="datetime'''''''''''''''''''0''.''''''''''''9''''''''''''''''''%'''''">
              <a:rPr lang="en-US" altLang="en-US" sz="1000" b="1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0.9%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016536" y="5358797"/>
            <a:ext cx="319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772A81D-7EDA-4A59-9DE0-CEB8C30A186C}" type="datetime'''''''0.''''7''''''''''''''%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0.7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378789" y="4400439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63DA58A-6F75-4838-9E6C-967DF8A2D1FE}" type="datetime'''''''''-''''''0''''''''''''''''''''.''''6%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/>
              <a:t>-0.6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471067" y="2959469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DFFAF2CD-631B-4DE3-A0E9-CB0E86268DC9}" type="datetime'''''-''''''''0''''''''''''.''''''''''''''''1%'''''''''''''''">
              <a:rPr lang="en-US" altLang="en-US" sz="1000">
                <a:latin typeface="Arial" charset="0"/>
                <a:ea typeface="Arial" charset="0"/>
                <a:cs typeface="Arial" charset="0"/>
              </a:rPr>
              <a:pPr algn="r"/>
              <a:t>-0.1%</a:t>
            </a:fld>
            <a:endParaRPr lang="en-US" sz="1000" dirty="0"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57" name="Oval 56"/>
          <p:cNvSpPr>
            <a:spLocks/>
          </p:cNvSpPr>
          <p:nvPr/>
        </p:nvSpPr>
        <p:spPr>
          <a:xfrm>
            <a:off x="4868817" y="1468162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81.5</a:t>
            </a:r>
          </a:p>
        </p:txBody>
      </p:sp>
      <p:sp>
        <p:nvSpPr>
          <p:cNvPr id="58" name="Oval 57"/>
          <p:cNvSpPr>
            <a:spLocks/>
          </p:cNvSpPr>
          <p:nvPr/>
        </p:nvSpPr>
        <p:spPr>
          <a:xfrm>
            <a:off x="4868817" y="1947935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.3</a:t>
            </a:r>
          </a:p>
        </p:txBody>
      </p:sp>
      <p:sp>
        <p:nvSpPr>
          <p:cNvPr id="59" name="Oval 58"/>
          <p:cNvSpPr>
            <a:spLocks/>
          </p:cNvSpPr>
          <p:nvPr/>
        </p:nvSpPr>
        <p:spPr>
          <a:xfrm>
            <a:off x="4868817" y="2198827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4.5</a:t>
            </a:r>
          </a:p>
        </p:txBody>
      </p:sp>
      <p:sp>
        <p:nvSpPr>
          <p:cNvPr id="60" name="Oval 59"/>
          <p:cNvSpPr>
            <a:spLocks/>
          </p:cNvSpPr>
          <p:nvPr/>
        </p:nvSpPr>
        <p:spPr>
          <a:xfrm>
            <a:off x="4868817" y="2437233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.1</a:t>
            </a:r>
          </a:p>
        </p:txBody>
      </p:sp>
      <p:sp>
        <p:nvSpPr>
          <p:cNvPr id="61" name="Oval 60"/>
          <p:cNvSpPr>
            <a:spLocks/>
          </p:cNvSpPr>
          <p:nvPr/>
        </p:nvSpPr>
        <p:spPr>
          <a:xfrm>
            <a:off x="4868817" y="2684243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9.0</a:t>
            </a:r>
          </a:p>
        </p:txBody>
      </p:sp>
      <p:sp>
        <p:nvSpPr>
          <p:cNvPr id="62" name="Oval 61"/>
          <p:cNvSpPr>
            <a:spLocks/>
          </p:cNvSpPr>
          <p:nvPr/>
        </p:nvSpPr>
        <p:spPr>
          <a:xfrm>
            <a:off x="4868817" y="2931253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.2</a:t>
            </a:r>
          </a:p>
        </p:txBody>
      </p:sp>
      <p:sp>
        <p:nvSpPr>
          <p:cNvPr id="63" name="Oval 62"/>
          <p:cNvSpPr>
            <a:spLocks/>
          </p:cNvSpPr>
          <p:nvPr/>
        </p:nvSpPr>
        <p:spPr>
          <a:xfrm>
            <a:off x="4868817" y="3171886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.8</a:t>
            </a:r>
          </a:p>
        </p:txBody>
      </p:sp>
      <p:sp>
        <p:nvSpPr>
          <p:cNvPr id="64" name="Oval 63"/>
          <p:cNvSpPr>
            <a:spLocks/>
          </p:cNvSpPr>
          <p:nvPr/>
        </p:nvSpPr>
        <p:spPr>
          <a:xfrm>
            <a:off x="4868817" y="3422044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.6</a:t>
            </a:r>
          </a:p>
        </p:txBody>
      </p:sp>
      <p:sp>
        <p:nvSpPr>
          <p:cNvPr id="65" name="Oval 64"/>
          <p:cNvSpPr>
            <a:spLocks/>
          </p:cNvSpPr>
          <p:nvPr/>
        </p:nvSpPr>
        <p:spPr>
          <a:xfrm>
            <a:off x="4868817" y="3650004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0.3</a:t>
            </a:r>
          </a:p>
        </p:txBody>
      </p:sp>
      <p:sp>
        <p:nvSpPr>
          <p:cNvPr id="66" name="Oval 65"/>
          <p:cNvSpPr>
            <a:spLocks/>
          </p:cNvSpPr>
          <p:nvPr/>
        </p:nvSpPr>
        <p:spPr>
          <a:xfrm>
            <a:off x="4868817" y="3890637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.0</a:t>
            </a:r>
          </a:p>
        </p:txBody>
      </p:sp>
      <p:sp>
        <p:nvSpPr>
          <p:cNvPr id="67" name="Oval 66"/>
          <p:cNvSpPr>
            <a:spLocks/>
          </p:cNvSpPr>
          <p:nvPr/>
        </p:nvSpPr>
        <p:spPr>
          <a:xfrm>
            <a:off x="4868817" y="4140795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2.8</a:t>
            </a:r>
          </a:p>
        </p:txBody>
      </p:sp>
      <p:sp>
        <p:nvSpPr>
          <p:cNvPr id="68" name="Oval 67"/>
          <p:cNvSpPr>
            <a:spLocks/>
          </p:cNvSpPr>
          <p:nvPr/>
        </p:nvSpPr>
        <p:spPr>
          <a:xfrm>
            <a:off x="4868817" y="4379854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.1</a:t>
            </a:r>
          </a:p>
        </p:txBody>
      </p:sp>
      <p:sp>
        <p:nvSpPr>
          <p:cNvPr id="69" name="Oval 68"/>
          <p:cNvSpPr>
            <a:spLocks/>
          </p:cNvSpPr>
          <p:nvPr/>
        </p:nvSpPr>
        <p:spPr>
          <a:xfrm>
            <a:off x="4868817" y="4626864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2.9</a:t>
            </a:r>
          </a:p>
        </p:txBody>
      </p:sp>
      <p:sp>
        <p:nvSpPr>
          <p:cNvPr id="70" name="Oval 69"/>
          <p:cNvSpPr>
            <a:spLocks/>
          </p:cNvSpPr>
          <p:nvPr/>
        </p:nvSpPr>
        <p:spPr>
          <a:xfrm>
            <a:off x="4868817" y="4856398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.7</a:t>
            </a:r>
          </a:p>
        </p:txBody>
      </p:sp>
      <p:sp>
        <p:nvSpPr>
          <p:cNvPr id="71" name="Oval 70"/>
          <p:cNvSpPr>
            <a:spLocks/>
          </p:cNvSpPr>
          <p:nvPr/>
        </p:nvSpPr>
        <p:spPr>
          <a:xfrm>
            <a:off x="4868817" y="5095457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4.8</a:t>
            </a:r>
          </a:p>
        </p:txBody>
      </p:sp>
      <p:sp>
        <p:nvSpPr>
          <p:cNvPr id="72" name="Oval 71"/>
          <p:cNvSpPr>
            <a:spLocks/>
          </p:cNvSpPr>
          <p:nvPr/>
        </p:nvSpPr>
        <p:spPr>
          <a:xfrm>
            <a:off x="4868817" y="5339319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4.3</a:t>
            </a:r>
          </a:p>
        </p:txBody>
      </p:sp>
      <p:sp>
        <p:nvSpPr>
          <p:cNvPr id="73" name="Oval 72"/>
          <p:cNvSpPr>
            <a:spLocks/>
          </p:cNvSpPr>
          <p:nvPr/>
        </p:nvSpPr>
        <p:spPr>
          <a:xfrm>
            <a:off x="4868817" y="5575230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7.3</a:t>
            </a:r>
          </a:p>
        </p:txBody>
      </p:sp>
      <p:sp>
        <p:nvSpPr>
          <p:cNvPr id="74" name="Oval 73"/>
          <p:cNvSpPr>
            <a:spLocks/>
          </p:cNvSpPr>
          <p:nvPr/>
        </p:nvSpPr>
        <p:spPr>
          <a:xfrm>
            <a:off x="4868817" y="1705647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-2.8</a:t>
            </a:r>
          </a:p>
        </p:txBody>
      </p:sp>
      <p:sp>
        <p:nvSpPr>
          <p:cNvPr id="75" name="Oval 74"/>
          <p:cNvSpPr>
            <a:spLocks/>
          </p:cNvSpPr>
          <p:nvPr/>
        </p:nvSpPr>
        <p:spPr>
          <a:xfrm>
            <a:off x="4868817" y="5828610"/>
            <a:ext cx="427206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7172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78.7</a:t>
            </a:r>
          </a:p>
        </p:txBody>
      </p:sp>
      <p:sp>
        <p:nvSpPr>
          <p:cNvPr id="76" name="Oval 75"/>
          <p:cNvSpPr>
            <a:spLocks/>
          </p:cNvSpPr>
          <p:nvPr/>
        </p:nvSpPr>
        <p:spPr>
          <a:xfrm>
            <a:off x="5482607" y="1468162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104%</a:t>
            </a:r>
          </a:p>
        </p:txBody>
      </p:sp>
      <p:sp>
        <p:nvSpPr>
          <p:cNvPr id="77" name="Oval 76"/>
          <p:cNvSpPr>
            <a:spLocks/>
          </p:cNvSpPr>
          <p:nvPr/>
        </p:nvSpPr>
        <p:spPr>
          <a:xfrm>
            <a:off x="5482607" y="194793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%</a:t>
            </a:r>
          </a:p>
        </p:txBody>
      </p:sp>
      <p:sp>
        <p:nvSpPr>
          <p:cNvPr id="78" name="Oval 77"/>
          <p:cNvSpPr>
            <a:spLocks/>
          </p:cNvSpPr>
          <p:nvPr/>
        </p:nvSpPr>
        <p:spPr>
          <a:xfrm>
            <a:off x="5482607" y="219882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6%</a:t>
            </a:r>
          </a:p>
        </p:txBody>
      </p:sp>
      <p:sp>
        <p:nvSpPr>
          <p:cNvPr id="79" name="Oval 78"/>
          <p:cNvSpPr>
            <a:spLocks/>
          </p:cNvSpPr>
          <p:nvPr/>
        </p:nvSpPr>
        <p:spPr>
          <a:xfrm>
            <a:off x="5482607" y="243723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%</a:t>
            </a:r>
          </a:p>
        </p:txBody>
      </p:sp>
      <p:sp>
        <p:nvSpPr>
          <p:cNvPr id="80" name="Oval 79"/>
          <p:cNvSpPr>
            <a:spLocks/>
          </p:cNvSpPr>
          <p:nvPr/>
        </p:nvSpPr>
        <p:spPr>
          <a:xfrm>
            <a:off x="5482607" y="268424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1%</a:t>
            </a:r>
          </a:p>
        </p:txBody>
      </p:sp>
      <p:sp>
        <p:nvSpPr>
          <p:cNvPr id="81" name="Oval 80"/>
          <p:cNvSpPr>
            <a:spLocks/>
          </p:cNvSpPr>
          <p:nvPr/>
        </p:nvSpPr>
        <p:spPr>
          <a:xfrm>
            <a:off x="5482607" y="293125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%</a:t>
            </a:r>
          </a:p>
        </p:txBody>
      </p:sp>
      <p:sp>
        <p:nvSpPr>
          <p:cNvPr id="82" name="Oval 81"/>
          <p:cNvSpPr>
            <a:spLocks/>
          </p:cNvSpPr>
          <p:nvPr/>
        </p:nvSpPr>
        <p:spPr>
          <a:xfrm>
            <a:off x="5482607" y="3171886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5%</a:t>
            </a:r>
          </a:p>
        </p:txBody>
      </p:sp>
      <p:sp>
        <p:nvSpPr>
          <p:cNvPr id="83" name="Oval 82"/>
          <p:cNvSpPr>
            <a:spLocks/>
          </p:cNvSpPr>
          <p:nvPr/>
        </p:nvSpPr>
        <p:spPr>
          <a:xfrm>
            <a:off x="5482607" y="342204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%</a:t>
            </a:r>
          </a:p>
        </p:txBody>
      </p:sp>
      <p:sp>
        <p:nvSpPr>
          <p:cNvPr id="84" name="Oval 83"/>
          <p:cNvSpPr>
            <a:spLocks/>
          </p:cNvSpPr>
          <p:nvPr/>
        </p:nvSpPr>
        <p:spPr>
          <a:xfrm>
            <a:off x="5482607" y="365000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85" name="Oval 84"/>
          <p:cNvSpPr>
            <a:spLocks/>
          </p:cNvSpPr>
          <p:nvPr/>
        </p:nvSpPr>
        <p:spPr>
          <a:xfrm>
            <a:off x="5482607" y="389063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%</a:t>
            </a:r>
          </a:p>
        </p:txBody>
      </p:sp>
      <p:sp>
        <p:nvSpPr>
          <p:cNvPr id="86" name="Oval 85"/>
          <p:cNvSpPr>
            <a:spLocks/>
          </p:cNvSpPr>
          <p:nvPr/>
        </p:nvSpPr>
        <p:spPr>
          <a:xfrm>
            <a:off x="5482607" y="414079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4%</a:t>
            </a:r>
          </a:p>
        </p:txBody>
      </p:sp>
      <p:sp>
        <p:nvSpPr>
          <p:cNvPr id="87" name="Oval 86"/>
          <p:cNvSpPr>
            <a:spLocks/>
          </p:cNvSpPr>
          <p:nvPr/>
        </p:nvSpPr>
        <p:spPr>
          <a:xfrm>
            <a:off x="5482607" y="437985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%</a:t>
            </a:r>
          </a:p>
        </p:txBody>
      </p:sp>
      <p:sp>
        <p:nvSpPr>
          <p:cNvPr id="88" name="Oval 87"/>
          <p:cNvSpPr>
            <a:spLocks/>
          </p:cNvSpPr>
          <p:nvPr/>
        </p:nvSpPr>
        <p:spPr>
          <a:xfrm>
            <a:off x="5482607" y="462686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4%</a:t>
            </a:r>
          </a:p>
        </p:txBody>
      </p:sp>
      <p:sp>
        <p:nvSpPr>
          <p:cNvPr id="89" name="Oval 88"/>
          <p:cNvSpPr>
            <a:spLocks/>
          </p:cNvSpPr>
          <p:nvPr/>
        </p:nvSpPr>
        <p:spPr>
          <a:xfrm>
            <a:off x="5482607" y="4856398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2%</a:t>
            </a:r>
          </a:p>
        </p:txBody>
      </p:sp>
      <p:sp>
        <p:nvSpPr>
          <p:cNvPr id="90" name="Oval 89"/>
          <p:cNvSpPr>
            <a:spLocks/>
          </p:cNvSpPr>
          <p:nvPr/>
        </p:nvSpPr>
        <p:spPr>
          <a:xfrm>
            <a:off x="5482607" y="509545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6%</a:t>
            </a:r>
          </a:p>
        </p:txBody>
      </p:sp>
      <p:sp>
        <p:nvSpPr>
          <p:cNvPr id="91" name="Oval 90"/>
          <p:cNvSpPr>
            <a:spLocks/>
          </p:cNvSpPr>
          <p:nvPr/>
        </p:nvSpPr>
        <p:spPr>
          <a:xfrm>
            <a:off x="5482607" y="5339319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5%</a:t>
            </a:r>
          </a:p>
        </p:txBody>
      </p:sp>
      <p:sp>
        <p:nvSpPr>
          <p:cNvPr id="92" name="Oval 91"/>
          <p:cNvSpPr>
            <a:spLocks/>
          </p:cNvSpPr>
          <p:nvPr/>
        </p:nvSpPr>
        <p:spPr>
          <a:xfrm>
            <a:off x="5482607" y="557523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9%</a:t>
            </a:r>
          </a:p>
        </p:txBody>
      </p:sp>
      <p:sp>
        <p:nvSpPr>
          <p:cNvPr id="93" name="Oval 92"/>
          <p:cNvSpPr>
            <a:spLocks/>
          </p:cNvSpPr>
          <p:nvPr/>
        </p:nvSpPr>
        <p:spPr>
          <a:xfrm>
            <a:off x="5482607" y="170564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-4%</a:t>
            </a:r>
          </a:p>
        </p:txBody>
      </p:sp>
      <p:sp>
        <p:nvSpPr>
          <p:cNvPr id="94" name="Oval 93"/>
          <p:cNvSpPr>
            <a:spLocks/>
          </p:cNvSpPr>
          <p:nvPr/>
        </p:nvSpPr>
        <p:spPr>
          <a:xfrm>
            <a:off x="5482607" y="582861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7172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00%</a:t>
            </a:r>
          </a:p>
        </p:txBody>
      </p:sp>
      <p:sp>
        <p:nvSpPr>
          <p:cNvPr id="95" name="Oval 94"/>
          <p:cNvSpPr>
            <a:spLocks/>
          </p:cNvSpPr>
          <p:nvPr/>
        </p:nvSpPr>
        <p:spPr>
          <a:xfrm>
            <a:off x="7671155" y="1468162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60.4</a:t>
            </a:r>
          </a:p>
        </p:txBody>
      </p:sp>
      <p:sp>
        <p:nvSpPr>
          <p:cNvPr id="96" name="Oval 95"/>
          <p:cNvSpPr>
            <a:spLocks/>
          </p:cNvSpPr>
          <p:nvPr/>
        </p:nvSpPr>
        <p:spPr>
          <a:xfrm>
            <a:off x="7671155" y="194793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.1</a:t>
            </a:r>
          </a:p>
        </p:txBody>
      </p:sp>
      <p:sp>
        <p:nvSpPr>
          <p:cNvPr id="97" name="Oval 96"/>
          <p:cNvSpPr>
            <a:spLocks/>
          </p:cNvSpPr>
          <p:nvPr/>
        </p:nvSpPr>
        <p:spPr>
          <a:xfrm>
            <a:off x="7671155" y="219882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8.0</a:t>
            </a:r>
          </a:p>
        </p:txBody>
      </p:sp>
      <p:sp>
        <p:nvSpPr>
          <p:cNvPr id="98" name="Oval 97"/>
          <p:cNvSpPr>
            <a:spLocks/>
          </p:cNvSpPr>
          <p:nvPr/>
        </p:nvSpPr>
        <p:spPr>
          <a:xfrm>
            <a:off x="7671155" y="243723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.1</a:t>
            </a:r>
          </a:p>
        </p:txBody>
      </p:sp>
      <p:sp>
        <p:nvSpPr>
          <p:cNvPr id="99" name="Oval 98"/>
          <p:cNvSpPr>
            <a:spLocks/>
          </p:cNvSpPr>
          <p:nvPr/>
        </p:nvSpPr>
        <p:spPr>
          <a:xfrm>
            <a:off x="7671155" y="268424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41.8</a:t>
            </a:r>
          </a:p>
        </p:txBody>
      </p:sp>
      <p:sp>
        <p:nvSpPr>
          <p:cNvPr id="100" name="Oval 99"/>
          <p:cNvSpPr>
            <a:spLocks/>
          </p:cNvSpPr>
          <p:nvPr/>
        </p:nvSpPr>
        <p:spPr>
          <a:xfrm>
            <a:off x="7671155" y="293125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0.6</a:t>
            </a:r>
          </a:p>
        </p:txBody>
      </p:sp>
      <p:sp>
        <p:nvSpPr>
          <p:cNvPr id="101" name="Oval 100"/>
          <p:cNvSpPr>
            <a:spLocks/>
          </p:cNvSpPr>
          <p:nvPr/>
        </p:nvSpPr>
        <p:spPr>
          <a:xfrm>
            <a:off x="7671155" y="3171886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4.1</a:t>
            </a:r>
          </a:p>
        </p:txBody>
      </p:sp>
      <p:sp>
        <p:nvSpPr>
          <p:cNvPr id="102" name="Oval 101"/>
          <p:cNvSpPr>
            <a:spLocks/>
          </p:cNvSpPr>
          <p:nvPr/>
        </p:nvSpPr>
        <p:spPr>
          <a:xfrm>
            <a:off x="7671155" y="342204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.2</a:t>
            </a:r>
          </a:p>
        </p:txBody>
      </p:sp>
      <p:sp>
        <p:nvSpPr>
          <p:cNvPr id="103" name="Oval 102"/>
          <p:cNvSpPr>
            <a:spLocks/>
          </p:cNvSpPr>
          <p:nvPr/>
        </p:nvSpPr>
        <p:spPr>
          <a:xfrm>
            <a:off x="7671155" y="365000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0.6</a:t>
            </a:r>
          </a:p>
        </p:txBody>
      </p:sp>
      <p:sp>
        <p:nvSpPr>
          <p:cNvPr id="104" name="Oval 103"/>
          <p:cNvSpPr>
            <a:spLocks/>
          </p:cNvSpPr>
          <p:nvPr/>
        </p:nvSpPr>
        <p:spPr>
          <a:xfrm>
            <a:off x="7671155" y="389063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8.4</a:t>
            </a:r>
          </a:p>
        </p:txBody>
      </p:sp>
      <p:sp>
        <p:nvSpPr>
          <p:cNvPr id="105" name="Oval 104"/>
          <p:cNvSpPr>
            <a:spLocks/>
          </p:cNvSpPr>
          <p:nvPr/>
        </p:nvSpPr>
        <p:spPr>
          <a:xfrm>
            <a:off x="7671155" y="414079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6.4</a:t>
            </a:r>
          </a:p>
        </p:txBody>
      </p:sp>
      <p:sp>
        <p:nvSpPr>
          <p:cNvPr id="106" name="Oval 105"/>
          <p:cNvSpPr>
            <a:spLocks/>
          </p:cNvSpPr>
          <p:nvPr/>
        </p:nvSpPr>
        <p:spPr>
          <a:xfrm>
            <a:off x="7671155" y="437985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.4</a:t>
            </a:r>
          </a:p>
        </p:txBody>
      </p:sp>
      <p:sp>
        <p:nvSpPr>
          <p:cNvPr id="107" name="Oval 106"/>
          <p:cNvSpPr>
            <a:spLocks/>
          </p:cNvSpPr>
          <p:nvPr/>
        </p:nvSpPr>
        <p:spPr>
          <a:xfrm>
            <a:off x="7671155" y="462686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1.2</a:t>
            </a:r>
          </a:p>
        </p:txBody>
      </p:sp>
      <p:sp>
        <p:nvSpPr>
          <p:cNvPr id="108" name="Oval 107"/>
          <p:cNvSpPr>
            <a:spLocks/>
          </p:cNvSpPr>
          <p:nvPr/>
        </p:nvSpPr>
        <p:spPr>
          <a:xfrm>
            <a:off x="7671155" y="4856398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.4</a:t>
            </a:r>
          </a:p>
        </p:txBody>
      </p:sp>
      <p:sp>
        <p:nvSpPr>
          <p:cNvPr id="109" name="Oval 108"/>
          <p:cNvSpPr>
            <a:spLocks/>
          </p:cNvSpPr>
          <p:nvPr/>
        </p:nvSpPr>
        <p:spPr>
          <a:xfrm>
            <a:off x="7671155" y="509545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.1</a:t>
            </a:r>
          </a:p>
        </p:txBody>
      </p:sp>
      <p:sp>
        <p:nvSpPr>
          <p:cNvPr id="110" name="Oval 109"/>
          <p:cNvSpPr>
            <a:spLocks/>
          </p:cNvSpPr>
          <p:nvPr/>
        </p:nvSpPr>
        <p:spPr>
          <a:xfrm>
            <a:off x="7671155" y="5339319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.2</a:t>
            </a:r>
          </a:p>
        </p:txBody>
      </p:sp>
      <p:sp>
        <p:nvSpPr>
          <p:cNvPr id="111" name="Oval 110"/>
          <p:cNvSpPr>
            <a:spLocks/>
          </p:cNvSpPr>
          <p:nvPr/>
        </p:nvSpPr>
        <p:spPr>
          <a:xfrm>
            <a:off x="7671155" y="557523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.5</a:t>
            </a:r>
          </a:p>
        </p:txBody>
      </p:sp>
      <p:sp>
        <p:nvSpPr>
          <p:cNvPr id="112" name="Oval 111"/>
          <p:cNvSpPr>
            <a:spLocks/>
          </p:cNvSpPr>
          <p:nvPr/>
        </p:nvSpPr>
        <p:spPr>
          <a:xfrm>
            <a:off x="7671155" y="170564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75.6</a:t>
            </a:r>
          </a:p>
        </p:txBody>
      </p:sp>
      <p:sp>
        <p:nvSpPr>
          <p:cNvPr id="113" name="Oval 112"/>
          <p:cNvSpPr>
            <a:spLocks/>
          </p:cNvSpPr>
          <p:nvPr/>
        </p:nvSpPr>
        <p:spPr>
          <a:xfrm>
            <a:off x="7671155" y="582861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7172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35.9</a:t>
            </a:r>
          </a:p>
        </p:txBody>
      </p:sp>
      <p:sp>
        <p:nvSpPr>
          <p:cNvPr id="114" name="Oval 113"/>
          <p:cNvSpPr>
            <a:spLocks/>
          </p:cNvSpPr>
          <p:nvPr/>
        </p:nvSpPr>
        <p:spPr>
          <a:xfrm>
            <a:off x="8294689" y="1468162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44%</a:t>
            </a:r>
          </a:p>
        </p:txBody>
      </p:sp>
      <p:sp>
        <p:nvSpPr>
          <p:cNvPr id="115" name="Oval 114"/>
          <p:cNvSpPr>
            <a:spLocks/>
          </p:cNvSpPr>
          <p:nvPr/>
        </p:nvSpPr>
        <p:spPr>
          <a:xfrm>
            <a:off x="8294689" y="194793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%</a:t>
            </a:r>
          </a:p>
        </p:txBody>
      </p:sp>
      <p:sp>
        <p:nvSpPr>
          <p:cNvPr id="116" name="Oval 115"/>
          <p:cNvSpPr>
            <a:spLocks/>
          </p:cNvSpPr>
          <p:nvPr/>
        </p:nvSpPr>
        <p:spPr>
          <a:xfrm>
            <a:off x="8294689" y="219882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6%</a:t>
            </a:r>
          </a:p>
        </p:txBody>
      </p:sp>
      <p:sp>
        <p:nvSpPr>
          <p:cNvPr id="117" name="Oval 116"/>
          <p:cNvSpPr>
            <a:spLocks/>
          </p:cNvSpPr>
          <p:nvPr/>
        </p:nvSpPr>
        <p:spPr>
          <a:xfrm>
            <a:off x="8294689" y="243723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%</a:t>
            </a:r>
          </a:p>
        </p:txBody>
      </p:sp>
      <p:sp>
        <p:nvSpPr>
          <p:cNvPr id="118" name="Oval 117"/>
          <p:cNvSpPr>
            <a:spLocks/>
          </p:cNvSpPr>
          <p:nvPr/>
        </p:nvSpPr>
        <p:spPr>
          <a:xfrm>
            <a:off x="8294689" y="268424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31%</a:t>
            </a:r>
          </a:p>
        </p:txBody>
      </p:sp>
      <p:sp>
        <p:nvSpPr>
          <p:cNvPr id="119" name="Oval 118"/>
          <p:cNvSpPr>
            <a:spLocks/>
          </p:cNvSpPr>
          <p:nvPr/>
        </p:nvSpPr>
        <p:spPr>
          <a:xfrm>
            <a:off x="8294689" y="2931253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120" name="Oval 119"/>
          <p:cNvSpPr>
            <a:spLocks/>
          </p:cNvSpPr>
          <p:nvPr/>
        </p:nvSpPr>
        <p:spPr>
          <a:xfrm>
            <a:off x="8294689" y="3171886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0%</a:t>
            </a:r>
          </a:p>
        </p:txBody>
      </p:sp>
      <p:sp>
        <p:nvSpPr>
          <p:cNvPr id="121" name="Oval 120"/>
          <p:cNvSpPr>
            <a:spLocks/>
          </p:cNvSpPr>
          <p:nvPr/>
        </p:nvSpPr>
        <p:spPr>
          <a:xfrm>
            <a:off x="8294689" y="342204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%</a:t>
            </a:r>
          </a:p>
        </p:txBody>
      </p:sp>
      <p:sp>
        <p:nvSpPr>
          <p:cNvPr id="122" name="Oval 121"/>
          <p:cNvSpPr>
            <a:spLocks/>
          </p:cNvSpPr>
          <p:nvPr/>
        </p:nvSpPr>
        <p:spPr>
          <a:xfrm>
            <a:off x="8294689" y="365000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123" name="Oval 122"/>
          <p:cNvSpPr>
            <a:spLocks/>
          </p:cNvSpPr>
          <p:nvPr/>
        </p:nvSpPr>
        <p:spPr>
          <a:xfrm>
            <a:off x="8294689" y="389063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6%</a:t>
            </a:r>
          </a:p>
        </p:txBody>
      </p:sp>
      <p:sp>
        <p:nvSpPr>
          <p:cNvPr id="124" name="Oval 123"/>
          <p:cNvSpPr>
            <a:spLocks/>
          </p:cNvSpPr>
          <p:nvPr/>
        </p:nvSpPr>
        <p:spPr>
          <a:xfrm>
            <a:off x="8294689" y="4140795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5%</a:t>
            </a:r>
          </a:p>
        </p:txBody>
      </p:sp>
      <p:sp>
        <p:nvSpPr>
          <p:cNvPr id="125" name="Oval 124"/>
          <p:cNvSpPr>
            <a:spLocks/>
          </p:cNvSpPr>
          <p:nvPr/>
        </p:nvSpPr>
        <p:spPr>
          <a:xfrm>
            <a:off x="8294689" y="437985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1%</a:t>
            </a:r>
          </a:p>
        </p:txBody>
      </p:sp>
      <p:sp>
        <p:nvSpPr>
          <p:cNvPr id="126" name="Oval 125"/>
          <p:cNvSpPr>
            <a:spLocks/>
          </p:cNvSpPr>
          <p:nvPr/>
        </p:nvSpPr>
        <p:spPr>
          <a:xfrm>
            <a:off x="8294689" y="4626864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-8%</a:t>
            </a:r>
          </a:p>
        </p:txBody>
      </p:sp>
      <p:sp>
        <p:nvSpPr>
          <p:cNvPr id="127" name="Oval 126"/>
          <p:cNvSpPr>
            <a:spLocks/>
          </p:cNvSpPr>
          <p:nvPr/>
        </p:nvSpPr>
        <p:spPr>
          <a:xfrm>
            <a:off x="8294689" y="4856398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128" name="Oval 127"/>
          <p:cNvSpPr>
            <a:spLocks/>
          </p:cNvSpPr>
          <p:nvPr/>
        </p:nvSpPr>
        <p:spPr>
          <a:xfrm>
            <a:off x="8294689" y="509545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129" name="Oval 128"/>
          <p:cNvSpPr>
            <a:spLocks/>
          </p:cNvSpPr>
          <p:nvPr/>
        </p:nvSpPr>
        <p:spPr>
          <a:xfrm>
            <a:off x="8294689" y="5339319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2%</a:t>
            </a:r>
          </a:p>
        </p:txBody>
      </p:sp>
      <p:sp>
        <p:nvSpPr>
          <p:cNvPr id="130" name="Oval 129"/>
          <p:cNvSpPr>
            <a:spLocks/>
          </p:cNvSpPr>
          <p:nvPr/>
        </p:nvSpPr>
        <p:spPr>
          <a:xfrm>
            <a:off x="8294689" y="557523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0%</a:t>
            </a:r>
          </a:p>
        </p:txBody>
      </p:sp>
      <p:sp>
        <p:nvSpPr>
          <p:cNvPr id="131" name="Oval 130"/>
          <p:cNvSpPr>
            <a:spLocks/>
          </p:cNvSpPr>
          <p:nvPr/>
        </p:nvSpPr>
        <p:spPr>
          <a:xfrm>
            <a:off x="8294689" y="1705647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b="1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56%</a:t>
            </a:r>
          </a:p>
        </p:txBody>
      </p:sp>
      <p:sp>
        <p:nvSpPr>
          <p:cNvPr id="132" name="Oval 131"/>
          <p:cNvSpPr>
            <a:spLocks/>
          </p:cNvSpPr>
          <p:nvPr/>
        </p:nvSpPr>
        <p:spPr>
          <a:xfrm>
            <a:off x="8294689" y="5828610"/>
            <a:ext cx="398463" cy="194888"/>
          </a:xfrm>
          <a:prstGeom prst="ellipse">
            <a:avLst/>
          </a:prstGeom>
          <a:solidFill>
            <a:schemeClr val="bg1"/>
          </a:solidFill>
          <a:ln w="9525">
            <a:solidFill>
              <a:srgbClr val="7172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100%</a:t>
            </a: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15411" y="5612199"/>
            <a:ext cx="19796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9F30E39-5B3D-43B6-BFA5-4CC18CAB4D33}" type="datetime'Southe''''''''rn'' Virg''inia'''' Regio''na''l Al''lian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Southern Virginia Regional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15411" y="5832769"/>
            <a:ext cx="303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3FBC07F-7976-4969-BF10-51164EFA39B2}" type="datetime'''T''''''''''ot''''''a''''''''''''''l'''">
              <a:rPr lang="en-US" altLang="en-US" sz="1000" b="1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Total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15411" y="4154462"/>
            <a:ext cx="1773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262F36F-CE45-46BC-96BA-E71C3F068533}" type="datetime'S''''henan''''''doah Val''le''''y ''Pa''''''r''tne''r''s''hip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Shenandoah Valley Partnership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6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07248" y="5366969"/>
            <a:ext cx="14827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C922FE3-4A05-4206-A57C-1EB83F750840}" type="datetime'Vi''r''''''g''''i''''''n''ia''''’s ''Gate''''wa''y ''Reg''ion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Virginia’s Gateway Region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15411" y="4336931"/>
            <a:ext cx="2785314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Northern Neck Chesapeake Bay </a:t>
            </a:r>
            <a:b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Region Partnership</a:t>
            </a:r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15411" y="1723419"/>
            <a:ext cx="928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2603D61-2EFD-4007-AA0A-41DF8D70A918}" type="datetime'''R''''''''''est'' ''''of'''''''' V''i''''''''rg''ini''a'">
              <a:rPr lang="en-US" altLang="en-US" sz="1000" b="1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Rest of Virginia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15411" y="4643985"/>
            <a:ext cx="2852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028211A-3E8C-4BDD-AF89-8B7F32B1B657}" type="datetime'Virginia Coalfield ''''Economic Develop''ment'' Aut''horit''y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Virginia Coalfield Economic Development Authority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15411" y="2954907"/>
            <a:ext cx="2400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A25FC7E-0DA8-4DC0-B707-99C5CCD97541}" type="datetime'''The L''y''nchburg ''''Regional Busin''e''ss Allia''''''n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The Lynchburg Regional Business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15411" y="5118275"/>
            <a:ext cx="2346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8A3FAE2-369F-486B-9F3B-E5ED2FBDC358}" type="datetime'''Virginia’s ''Indus''t''rial A''d''vancement Allian''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Virginia’s Industrial Advancement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04963" y="4825621"/>
            <a:ext cx="2872485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Middle Peninsula Economic Development </a:t>
            </a:r>
            <a:b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Resource Organization</a:t>
            </a:r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15411" y="2714404"/>
            <a:ext cx="1714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9D7C719-AE21-4900-8D12-45F521259C1C}" type="datetime'G''''''''''re''''''a''ter ''Rich''mon''d P''ar''tn''ersh''ip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Greater Richmond Partnership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15411" y="3917520"/>
            <a:ext cx="18557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6F0B1DF-19F6-48D0-BC38-0B0ABD0DA83D}" type="datetime'''Frede''ri''''c''ks''''''bu''''rg Reg''''i''onal A''llian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Fredericksburg Regional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15411" y="3200486"/>
            <a:ext cx="2760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60F6FB7-43C9-4EF5-B15F-13FB9D24E798}" type="datetime'''Ha''mpton'' Roads'' Economic D''evelopm''ent ''All''ia''n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Hampton Roads Economic Development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15411" y="3685864"/>
            <a:ext cx="1435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444C99-4723-4B8C-9CF9-263EA744258A}" type="datetime'Vi''''rg''''ini''a''’s'''''' Grow''''th ''A''l''l''''iance''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Virginia’s Growth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15411" y="3433622"/>
            <a:ext cx="1719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41F1A42-BC9B-4471-B411-84BB6718DE5C}" type="datetime'Roa''''''nok''e'' ''Reg''i''''''onal'''''''' Pa''rtnershi''p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Roanoke Regional Partnership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15411" y="2168992"/>
            <a:ext cx="2591537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sz="1000" dirty="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t>Central Virginia Partnership for Economic Development</a:t>
            </a:r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15411" y="1972906"/>
            <a:ext cx="1871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0FB63D-B3BD-49C9-B9D7-06C5A14A422B}" type="datetime'Gre''a''t''''er William''''sbur''''g'''' Pa''r''''tnersh''ip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Greater Williamsburg Partnership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15411" y="2471283"/>
            <a:ext cx="281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3917920-FE01-4DB8-9941-819A781EE337}" type="datetime'New Rive''r Valley Ec''on''omic Develo''pm''ent All''ian''ce'">
              <a:rPr lang="en-US" altLang="en-US" sz="1000">
                <a:solidFill>
                  <a:srgbClr val="003765"/>
                </a:solidFill>
                <a:latin typeface="Arial" charset="0"/>
                <a:ea typeface="Arial" charset="0"/>
                <a:cs typeface="Arial" charset="0"/>
              </a:rPr>
              <a:pPr/>
              <a:t>New River Valley Economic Development Alliance</a:t>
            </a:fld>
            <a:endParaRPr lang="en-US" sz="1000" dirty="0">
              <a:solidFill>
                <a:srgbClr val="003765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15411" y="1492015"/>
            <a:ext cx="1035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267E1C9-34B9-4ED2-8ADE-F5416DBB3618}" type="datetime'No''''rthe''''r''''''''n'' Vi''''''r''''''''''''ginia'''''''''">
              <a:rPr lang="en-US" altLang="en-US" sz="1000" b="1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pPr/>
              <a:t>Northern Virginia</a:t>
            </a:fld>
            <a:endParaRPr lang="en-US" sz="1000" b="1" dirty="0">
              <a:solidFill>
                <a:srgbClr val="C00000"/>
              </a:solidFill>
              <a:latin typeface="Arial" charset="0"/>
              <a:ea typeface="Arial" charset="0"/>
              <a:cs typeface="Arial" charset="0"/>
              <a:sym typeface="+mn-lt"/>
            </a:endParaRPr>
          </a:p>
        </p:txBody>
      </p:sp>
      <p:cxnSp>
        <p:nvCxnSpPr>
          <p:cNvPr id="152" name="Straight Connector 151"/>
          <p:cNvCxnSpPr/>
          <p:nvPr/>
        </p:nvCxnSpPr>
        <p:spPr>
          <a:xfrm>
            <a:off x="234952" y="1918829"/>
            <a:ext cx="843694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/>
        </p:nvCxnSpPr>
        <p:spPr>
          <a:xfrm>
            <a:off x="234952" y="607453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234952" y="5559982"/>
            <a:ext cx="843694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234952" y="5307159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>
            <a:off x="234952" y="5061331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>
            <a:off x="234952" y="4844264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234952" y="4592059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/>
        </p:nvCxnSpPr>
        <p:spPr>
          <a:xfrm>
            <a:off x="234952" y="435112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>
            <a:off x="234952" y="411805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/>
          <p:nvPr/>
        </p:nvCxnSpPr>
        <p:spPr>
          <a:xfrm>
            <a:off x="234952" y="3867515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>
            <a:off x="234952" y="3640825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234952" y="3390283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>
            <a:off x="234952" y="315564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>
            <a:off x="234952" y="2921005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234952" y="265455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/>
        </p:nvCxnSpPr>
        <p:spPr>
          <a:xfrm>
            <a:off x="234952" y="2415114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/>
          <p:nvPr/>
        </p:nvCxnSpPr>
        <p:spPr>
          <a:xfrm>
            <a:off x="234952" y="218212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/>
        </p:nvCxnSpPr>
        <p:spPr>
          <a:xfrm>
            <a:off x="234952" y="1684187"/>
            <a:ext cx="843694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/>
        </p:nvCxnSpPr>
        <p:spPr>
          <a:xfrm>
            <a:off x="244234" y="5807794"/>
            <a:ext cx="843694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5. Source"/>
          <p:cNvSpPr>
            <a:spLocks noChangeArrowheads="1"/>
          </p:cNvSpPr>
          <p:nvPr/>
        </p:nvSpPr>
        <p:spPr bwMode="gray">
          <a:xfrm>
            <a:off x="344804" y="6469115"/>
            <a:ext cx="72000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700" i="1" baseline="0" dirty="0">
                <a:solidFill>
                  <a:srgbClr val="003765"/>
                </a:solidFill>
                <a:ea typeface="Arial" charset="0"/>
                <a:cs typeface="Arial" charset="0"/>
              </a:rPr>
              <a:t>Source: BLS;</a:t>
            </a:r>
            <a:r>
              <a:rPr lang="en-US" sz="700" i="1" dirty="0">
                <a:solidFill>
                  <a:srgbClr val="003765"/>
                </a:solidFill>
                <a:ea typeface="Arial" charset="0"/>
                <a:cs typeface="Arial" charset="0"/>
              </a:rPr>
              <a:t> Moody’s Analytics; McKinsey analysis</a:t>
            </a:r>
            <a:endParaRPr lang="en-US" sz="700" i="1" baseline="0" dirty="0">
              <a:solidFill>
                <a:srgbClr val="003765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119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649" y="183972"/>
            <a:ext cx="8833449" cy="609234"/>
          </a:xfrm>
        </p:spPr>
        <p:txBody>
          <a:bodyPr anchor="ctr"/>
          <a:lstStyle/>
          <a:p>
            <a:r>
              <a:rPr lang="en-US" cap="all" dirty="0">
                <a:latin typeface="+mj-lt"/>
                <a:ea typeface="+mj-ea"/>
                <a:cs typeface="+mj-cs"/>
              </a:rPr>
              <a:t>three TYPES of Strategies HAVE BEEN developed to accomplish the five TRANSFORMATIONAL goals</a:t>
            </a:r>
            <a:endParaRPr lang="en-US" dirty="0">
              <a:latin typeface="+mj-lt"/>
            </a:endParaRPr>
          </a:p>
        </p:txBody>
      </p:sp>
      <p:grpSp>
        <p:nvGrpSpPr>
          <p:cNvPr id="3" name="Group 2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93466" y="975144"/>
            <a:ext cx="2281999" cy="1092201"/>
            <a:chOff x="2400" y="1968"/>
            <a:chExt cx="960" cy="960"/>
          </a:xfrm>
        </p:grpSpPr>
        <p:sp>
          <p:nvSpPr>
            <p:cNvPr id="4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/>
            <a:p>
              <a:endParaRPr lang="en-US" sz="1600" b="1" dirty="0">
                <a:solidFill>
                  <a:srgbClr val="003765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5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0" rIns="6350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marL="228600"/>
              <a:r>
                <a:rPr lang="en-US" b="1" dirty="0">
                  <a:solidFill>
                    <a:srgbClr val="003765"/>
                  </a:solidFill>
                  <a:latin typeface="+mn-lt"/>
                  <a:ea typeface="Arial" charset="0"/>
                  <a:cs typeface="Arial" charset="0"/>
                </a:rPr>
                <a:t>Cultivate target industry growth clusters</a:t>
              </a:r>
            </a:p>
          </p:txBody>
        </p:sp>
      </p:grp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810037" y="944187"/>
            <a:ext cx="6148226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Push new boundaries as a U.S. leader in information technology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Assemble a world-class transportation and logistics hub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Position Virginia’s manufacturing base to be future ready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Create bus. services and ops. centers of excellence (e.g., HQs)</a:t>
            </a:r>
          </a:p>
          <a:p>
            <a:pPr marL="182563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Capitalize on Virginia’s unique assets to become a leader in promising disruptive technologies (e.g., unmanned systems, genomics, personalized medicine)</a:t>
            </a: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2838612" y="2734583"/>
            <a:ext cx="581643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3765"/>
              </a:solidFill>
              <a:ea typeface="Arial" charset="0"/>
              <a:cs typeface="Arial" charset="0"/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2838612" y="5061369"/>
            <a:ext cx="581643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>
              <a:solidFill>
                <a:srgbClr val="003765"/>
              </a:solidFill>
              <a:ea typeface="Arial" charset="0"/>
              <a:cs typeface="Arial" charset="0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gray">
          <a:xfrm>
            <a:off x="124163" y="1265111"/>
            <a:ext cx="487806" cy="48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marL="0" marR="0" lvl="0" indent="0" algn="ctr" defTabSz="93296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3765"/>
                </a:solidFill>
                <a:ea typeface="Arial" charset="0"/>
                <a:cs typeface="Arial" charset="0"/>
              </a:rPr>
              <a:t>A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3765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  <p:grpSp>
        <p:nvGrpSpPr>
          <p:cNvPr id="10" name="Group 9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93467" y="5147865"/>
            <a:ext cx="2281999" cy="1044348"/>
            <a:chOff x="2400" y="1968"/>
            <a:chExt cx="960" cy="960"/>
          </a:xfrm>
        </p:grpSpPr>
        <p:sp>
          <p:nvSpPr>
            <p:cNvPr id="11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/>
            <a:p>
              <a:endParaRPr lang="en-US" sz="1600" b="1" dirty="0">
                <a:solidFill>
                  <a:srgbClr val="003765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0" rIns="6350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marL="228600"/>
              <a:r>
                <a:rPr lang="en-US" b="1" dirty="0">
                  <a:solidFill>
                    <a:srgbClr val="003765"/>
                  </a:solidFill>
                  <a:latin typeface="+mn-lt"/>
                  <a:ea typeface="Arial" charset="0"/>
                  <a:cs typeface="Arial" charset="0"/>
                </a:rPr>
                <a:t>Enhance VEDP’s capabilities</a:t>
              </a:r>
            </a:p>
          </p:txBody>
        </p:sp>
      </p:grp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2810037" y="5118910"/>
            <a:ext cx="6148226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Cultivate world-class execution at VEDP 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Implement robust marketing/branding, lead generation, and site consultant cultivation programs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Strengthen and expand business and international trade development programs</a:t>
            </a:r>
          </a:p>
          <a:p>
            <a:pPr marL="182563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Become a national leader in incentives administration</a:t>
            </a: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gray">
          <a:xfrm>
            <a:off x="124163" y="5418837"/>
            <a:ext cx="487806" cy="48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marL="0" marR="0" lvl="0" indent="0" algn="ctr" defTabSz="93296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3765"/>
                </a:solidFill>
                <a:ea typeface="Arial" charset="0"/>
                <a:cs typeface="Arial" charset="0"/>
              </a:rPr>
              <a:t>C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3765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  <p:grpSp>
        <p:nvGrpSpPr>
          <p:cNvPr id="15" name="Group 1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93468" y="2832869"/>
            <a:ext cx="2281998" cy="1083357"/>
            <a:chOff x="2400" y="1968"/>
            <a:chExt cx="960" cy="960"/>
          </a:xfrm>
        </p:grpSpPr>
        <p:sp>
          <p:nvSpPr>
            <p:cNvPr id="16" name="Rectangle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0" bIns="0" anchor="ctr"/>
            <a:lstStyle/>
            <a:p>
              <a:endParaRPr lang="en-US" sz="1600" b="1" dirty="0">
                <a:solidFill>
                  <a:srgbClr val="003765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7" name="Rectangle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00" y="1968"/>
              <a:ext cx="960" cy="9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3500" tIns="0" rIns="6350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marL="228600"/>
              <a:r>
                <a:rPr lang="en-US" b="1" dirty="0">
                  <a:solidFill>
                    <a:srgbClr val="003765"/>
                  </a:solidFill>
                  <a:latin typeface="+mn-lt"/>
                  <a:ea typeface="Arial" charset="0"/>
                  <a:cs typeface="Arial" charset="0"/>
                </a:rPr>
                <a:t>Improve VA's economic competitiveness</a:t>
              </a:r>
            </a:p>
          </p:txBody>
        </p:sp>
      </p:grp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2810037" y="2793942"/>
            <a:ext cx="6148226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Strengthen Virginia’s human capital development engine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Assemble an ample, strategic portfolio of project-ready sites and buildings across Virginia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Rigorously assess and steadily improve Virginia’s state, regional, and local economic competitiveness</a:t>
            </a:r>
          </a:p>
          <a:p>
            <a:pPr marL="182563" lvl="0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Leverage public-private partnerships to strengthen Virginia’s digital infrastructure (i.e., broadband)</a:t>
            </a:r>
          </a:p>
          <a:p>
            <a:pPr marL="182563" indent="-182563">
              <a:buFont typeface="Arial" charset="0"/>
              <a:buChar char="•"/>
            </a:pPr>
            <a:r>
              <a:rPr lang="en-US" sz="1600" dirty="0">
                <a:solidFill>
                  <a:srgbClr val="003765"/>
                </a:solidFill>
                <a:ea typeface="Arial" charset="0"/>
                <a:cs typeface="Arial" charset="0"/>
              </a:rPr>
              <a:t>Place a special focus on achieving growth in Virginia’s rural regions and small metros</a:t>
            </a:r>
          </a:p>
        </p:txBody>
      </p:sp>
      <p:sp>
        <p:nvSpPr>
          <p:cNvPr id="19" name="Oval 18"/>
          <p:cNvSpPr>
            <a:spLocks noChangeArrowheads="1"/>
          </p:cNvSpPr>
          <p:nvPr/>
        </p:nvSpPr>
        <p:spPr bwMode="gray">
          <a:xfrm>
            <a:off x="124163" y="3143143"/>
            <a:ext cx="487806" cy="4813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>
            <a:noAutofit/>
          </a:bodyPr>
          <a:lstStyle/>
          <a:p>
            <a:pPr marL="0" marR="0" lvl="0" indent="0" algn="ctr" defTabSz="93296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noProof="0" dirty="0">
                <a:solidFill>
                  <a:srgbClr val="003765"/>
                </a:solidFill>
                <a:ea typeface="Arial" charset="0"/>
                <a:cs typeface="Arial" charset="0"/>
              </a:rPr>
              <a:t>B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3765"/>
              </a:solidFill>
              <a:effectLst/>
              <a:uLnTx/>
              <a:uFillTx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668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sYe88RTi26MCF73Kij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C4bf5rSN2hycxNniRp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70qsoS72FdPmlbOJ9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RUgQ1RMeDB7OqkgBs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P3pGF4QgSzHvjT931Y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V3CrKhR4iQGY5vO1CA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AmXBCWRDSMzd3pRZ7r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7aSUsqQ8WMhJyXg44o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AGWb78QOKiw5zLOxLP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_g5Eh.RRK_jvuX6NnQ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X_X8FoSmWLQmr1jzu9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3B8cG.TxuWvgKloI0s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tamAO8SbCoLrgRauUQ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7GNbz1Se6AUX4n7fLV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wyrYN_TXqtPmQaJ.oj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sxvdl5QSWkma_xnzWl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MFXyzbRLuLEW2oop6E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i8hcjcRc6tKcNHeI_3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UR.wBxQB6zoomT51n2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PSdT3WSOifZvYmEd1m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2StYfdQdiU5YhQuKTr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ynKHP5S6mKzZDWshan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3xrgIxRruXXk.5KkEV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yiKCToRP2Hic9xsoHr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D6ThkyRoGQeERW7wNY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pWyGs1QbWa2dovgS6t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kdWCZ9QZOHvdPBz0u6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_vl3hfQwOeVB6ViwiG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hfRTzbTZO044vhTwwK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S9UWpTxO8fC4_dnn4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1wh6ijQSmlWkGtsKbU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pZ18aTFeg6NGhWdSR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1K.OycR7e_r2PIV_Tz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hr5paUSuqjDPeHAbUW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FKF7LQTGyHR0UuurrK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GBWv2DR867igo5bqrI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cwklDpQeyTFXoNQjw9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rXSlVTR.Ss.zVYyRts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wBIdbQVKsLU6C4I8u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4b2AxjT2CFYpRKlttfW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nZDZf7TtWT0NfdZAv3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dspoXJT...qJ0tzCPQ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9TTKMaS8qE8BLmIw0o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dd2PJERTSZEykf_V2V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SpEw8GQu6oTnIOfW7Uq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VKCsgQJ62fcrwQLUa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6Uc5ISkKnMRpDkgdt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RmS9_MQNOfyLM7hf0I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CXfHIXS3eUlH3q1rgj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i2_LPjQ_uUdVqsuDwf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6AworETiCa5gC8DrhK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lXaHUSgKSnXAnyDCM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8WIuKQShigVqNrfWOY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d_DMSRem6fOMZTz8G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YJYZiLTZiEHo1QVO_q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LmhAgRb2SBUNNddcSa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MTdH0R3Gz1Sv3pIK.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07CXMQFOtAjOeXhI.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Ln0gacT4yp.GSF9ohSgw"/>
</p:tagLst>
</file>

<file path=ppt/theme/theme1.xml><?xml version="1.0" encoding="utf-8"?>
<a:theme xmlns:a="http://schemas.openxmlformats.org/drawingml/2006/main" name="TITLES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Autofit/>
      </a:bodyPr>
      <a:lstStyle>
        <a:defPPr>
          <a:defRPr sz="4000" b="1" dirty="0">
            <a:solidFill>
              <a:srgbClr val="003764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E3AA47D2-5AFF-AD4E-B2D1-76D485E2CF3D}" vid="{35F43A4F-576D-554C-B4AA-405D129A7A46}"/>
    </a:ext>
  </a:extLst>
</a:theme>
</file>

<file path=ppt/theme/theme2.xml><?xml version="1.0" encoding="utf-8"?>
<a:theme xmlns:a="http://schemas.openxmlformats.org/drawingml/2006/main" name="AGENDA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3AA47D2-5AFF-AD4E-B2D1-76D485E2CF3D}" vid="{EA567B90-BC4E-0646-B03B-48923C452CE9}"/>
    </a:ext>
  </a:extLst>
</a:theme>
</file>

<file path=ppt/theme/theme3.xml><?xml version="1.0" encoding="utf-8"?>
<a:theme xmlns:a="http://schemas.openxmlformats.org/drawingml/2006/main" name="CONTENT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3AA47D2-5AFF-AD4E-B2D1-76D485E2CF3D}" vid="{063A7388-0B38-0C4B-B5E1-6FD28B28C4C9}"/>
    </a:ext>
  </a:extLst>
</a:theme>
</file>

<file path=ppt/theme/theme4.xml><?xml version="1.0" encoding="utf-8"?>
<a:theme xmlns:a="http://schemas.openxmlformats.org/drawingml/2006/main" name="Samples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3AA47D2-5AFF-AD4E-B2D1-76D485E2CF3D}" vid="{E19E7E1F-FF68-DA49-BC0A-76A1DB39C27B}"/>
    </a:ext>
  </a:extLst>
</a:theme>
</file>

<file path=ppt/theme/theme5.xml><?xml version="1.0" encoding="utf-8"?>
<a:theme xmlns:a="http://schemas.openxmlformats.org/drawingml/2006/main" name="CONTACT US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Ins="0" rtlCol="0">
        <a:spAutoFit/>
      </a:bodyPr>
      <a:lstStyle>
        <a:defPPr>
          <a:defRPr sz="1200" b="1" dirty="0" smtClean="0">
            <a:solidFill>
              <a:srgbClr val="003764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E3AA47D2-5AFF-AD4E-B2D1-76D485E2CF3D}" vid="{F636BDFB-454C-BD4D-A000-CB3CE5CBA26A}"/>
    </a:ext>
  </a:extLst>
</a:theme>
</file>

<file path=ppt/theme/theme6.xml><?xml version="1.0" encoding="utf-8"?>
<a:theme xmlns:a="http://schemas.openxmlformats.org/drawingml/2006/main" name="Colors">
  <a:themeElements>
    <a:clrScheme name="VEDP Brand Colors Final">
      <a:dk1>
        <a:srgbClr val="000000"/>
      </a:dk1>
      <a:lt1>
        <a:srgbClr val="FFFFFF"/>
      </a:lt1>
      <a:dk2>
        <a:srgbClr val="000000"/>
      </a:dk2>
      <a:lt2>
        <a:srgbClr val="FEFFFF"/>
      </a:lt2>
      <a:accent1>
        <a:srgbClr val="003865"/>
      </a:accent1>
      <a:accent2>
        <a:srgbClr val="007DBA"/>
      </a:accent2>
      <a:accent3>
        <a:srgbClr val="F2A900"/>
      </a:accent3>
      <a:accent4>
        <a:srgbClr val="00A7B5"/>
      </a:accent4>
      <a:accent5>
        <a:srgbClr val="582C83"/>
      </a:accent5>
      <a:accent6>
        <a:srgbClr val="707371"/>
      </a:accent6>
      <a:hlink>
        <a:srgbClr val="003865"/>
      </a:hlink>
      <a:folHlink>
        <a:srgbClr val="0038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3AA47D2-5AFF-AD4E-B2D1-76D485E2CF3D}" vid="{DFFC2735-2D3D-B040-A354-C429F3E28E26}"/>
    </a:ext>
  </a:extLst>
</a:theme>
</file>

<file path=ppt/theme/theme7.xml><?xml version="1.0" encoding="utf-8"?>
<a:theme xmlns:a="http://schemas.openxmlformats.org/drawingml/2006/main" name="1_Colors">
  <a:themeElements>
    <a:clrScheme name="VEDP">
      <a:dk1>
        <a:srgbClr val="000000"/>
      </a:dk1>
      <a:lt1>
        <a:srgbClr val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E3AA47D2-5AFF-AD4E-B2D1-76D485E2CF3D}" vid="{5B5C5B2C-E70B-0B42-B2EF-EC13236114F7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EDP_PPT_June 2018 (2)</Template>
  <TotalTime>611</TotalTime>
  <Words>1486</Words>
  <Application>Microsoft Office PowerPoint</Application>
  <PresentationFormat>On-screen Show (4:3)</PresentationFormat>
  <Paragraphs>288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SimSun</vt:lpstr>
      <vt:lpstr>Arial</vt:lpstr>
      <vt:lpstr>Calibri</vt:lpstr>
      <vt:lpstr>Wingdings</vt:lpstr>
      <vt:lpstr>-윤고딕130</vt:lpstr>
      <vt:lpstr>TITLES</vt:lpstr>
      <vt:lpstr>AGENDA</vt:lpstr>
      <vt:lpstr>CONTENT</vt:lpstr>
      <vt:lpstr>Samples</vt:lpstr>
      <vt:lpstr>CONTACT US</vt:lpstr>
      <vt:lpstr>Colors</vt:lpstr>
      <vt:lpstr>1_Colors</vt:lpstr>
      <vt:lpstr>PowerPoint Presentation</vt:lpstr>
      <vt:lpstr>VEDP OVERVIEW</vt:lpstr>
      <vt:lpstr>VEDP CONDUCTS ITS WORK IN CLOSE PARTNERSHIP WITH OTHERS, SUCH AS REGIONAL ECONOMIC DEVELOPMENT ORGANIZATIONS</vt:lpstr>
      <vt:lpstr>VEDP’S PRINCIPAL ROLES IN VA’S ECONOMIC DEVELOPMENT ECOSYSTEM </vt:lpstr>
      <vt:lpstr>Our new 5-YEAR (FY19-23) strategic plan has been crafted with extensive stakeholder engagement</vt:lpstr>
      <vt:lpstr>VA’S ECONOMIC COMPETITIVENESS: ABUNDANT STRENGTHS PARTIALLY OFFSET BY CORRESPONDING WEAKNESSES</vt:lpstr>
      <vt:lpstr>With input from GA leaders, admin., and stakeholders, we crafted five TRANSFORMATIONAL goals for Virginia, VEDP</vt:lpstr>
      <vt:lpstr>Virginia’s historical growth patterns have been unevenly distributed across regions</vt:lpstr>
      <vt:lpstr>three TYPES of Strategies HAVE BEEN developed to accomplish the five TRANSFORMATIONAL goals</vt:lpstr>
      <vt:lpstr>These strategies ALSO are designed to ensure that every region wins</vt:lpstr>
    </vt:vector>
  </TitlesOfParts>
  <Company>VEDP/VT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od, Suzanne</dc:creator>
  <cp:lastModifiedBy>Garrett, Jennifer</cp:lastModifiedBy>
  <cp:revision>40</cp:revision>
  <cp:lastPrinted>2018-08-22T18:06:22Z</cp:lastPrinted>
  <dcterms:created xsi:type="dcterms:W3CDTF">2018-07-25T21:08:05Z</dcterms:created>
  <dcterms:modified xsi:type="dcterms:W3CDTF">2018-08-22T20:00:12Z</dcterms:modified>
</cp:coreProperties>
</file>